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35" r:id="rId4"/>
  </p:sldMasterIdLst>
  <p:notesMasterIdLst>
    <p:notesMasterId r:id="rId6"/>
  </p:notesMasterIdLst>
  <p:handoutMasterIdLst>
    <p:handoutMasterId r:id="rId7"/>
  </p:handoutMasterIdLst>
  <p:sldIdLst>
    <p:sldId id="2146848292" r:id="rId5"/>
  </p:sldIdLst>
  <p:sldSz cx="12192000" cy="6858000"/>
  <p:notesSz cx="9939338" cy="68072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作成者" initials="A" lastIdx="0" clrIdx="1"/>
  <p:cmAuthor id="2" name="Sears, Jeffrey" initials="JS" lastIdx="16" clrIdx="2">
    <p:extLst>
      <p:ext uri="{19B8F6BF-5375-455C-9EA6-DF929625EA0E}">
        <p15:presenceInfo xmlns:p15="http://schemas.microsoft.com/office/powerpoint/2012/main" userId="Sears, Jeffre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B323"/>
    <a:srgbClr val="658D1B"/>
    <a:srgbClr val="004C97"/>
    <a:srgbClr val="A20067"/>
    <a:srgbClr val="FDDA98"/>
    <a:srgbClr val="A9C89D"/>
    <a:srgbClr val="7FAFCD"/>
    <a:srgbClr val="D389B7"/>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281" autoAdjust="0"/>
    <p:restoredTop sz="95953" autoAdjust="0"/>
  </p:normalViewPr>
  <p:slideViewPr>
    <p:cSldViewPr snapToGrid="0">
      <p:cViewPr varScale="1">
        <p:scale>
          <a:sx n="63" d="100"/>
          <a:sy n="63" d="100"/>
        </p:scale>
        <p:origin x="992" y="60"/>
      </p:cViewPr>
      <p:guideLst/>
    </p:cSldViewPr>
  </p:slideViewPr>
  <p:outlineViewPr>
    <p:cViewPr>
      <p:scale>
        <a:sx n="33" d="100"/>
        <a:sy n="33" d="100"/>
      </p:scale>
      <p:origin x="0" y="-1638"/>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p:cViewPr varScale="1">
        <p:scale>
          <a:sx n="64" d="100"/>
          <a:sy n="64" d="100"/>
        </p:scale>
        <p:origin x="1720" y="5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hkuri, Takeharu(大栗 威晴)[He/Him]" userId="e2b91537-111a-43d0-b70f-217da900da39" providerId="ADAL" clId="{EBFFCEBF-1646-431F-8164-EFAFB8DF970D}"/>
    <pc:docChg chg="delSld">
      <pc:chgData name="Ohkuri, Takeharu(大栗 威晴)[He/Him]" userId="e2b91537-111a-43d0-b70f-217da900da39" providerId="ADAL" clId="{EBFFCEBF-1646-431F-8164-EFAFB8DF970D}" dt="2024-04-08T23:56:36.705" v="7" actId="47"/>
      <pc:docMkLst>
        <pc:docMk/>
      </pc:docMkLst>
      <pc:sldChg chg="del">
        <pc:chgData name="Ohkuri, Takeharu(大栗 威晴)[He/Him]" userId="e2b91537-111a-43d0-b70f-217da900da39" providerId="ADAL" clId="{EBFFCEBF-1646-431F-8164-EFAFB8DF970D}" dt="2024-04-08T23:56:34.577" v="0" actId="47"/>
        <pc:sldMkLst>
          <pc:docMk/>
          <pc:sldMk cId="2866177696" sldId="2147479249"/>
        </pc:sldMkLst>
      </pc:sldChg>
      <pc:sldChg chg="del">
        <pc:chgData name="Ohkuri, Takeharu(大栗 威晴)[He/Him]" userId="e2b91537-111a-43d0-b70f-217da900da39" providerId="ADAL" clId="{EBFFCEBF-1646-431F-8164-EFAFB8DF970D}" dt="2024-04-08T23:56:34.869" v="1" actId="47"/>
        <pc:sldMkLst>
          <pc:docMk/>
          <pc:sldMk cId="1113759247" sldId="2147479251"/>
        </pc:sldMkLst>
      </pc:sldChg>
      <pc:sldChg chg="del">
        <pc:chgData name="Ohkuri, Takeharu(大栗 威晴)[He/Him]" userId="e2b91537-111a-43d0-b70f-217da900da39" providerId="ADAL" clId="{EBFFCEBF-1646-431F-8164-EFAFB8DF970D}" dt="2024-04-08T23:56:35.205" v="2" actId="47"/>
        <pc:sldMkLst>
          <pc:docMk/>
          <pc:sldMk cId="3984801671" sldId="2147479252"/>
        </pc:sldMkLst>
      </pc:sldChg>
      <pc:sldChg chg="del">
        <pc:chgData name="Ohkuri, Takeharu(大栗 威晴)[He/Him]" userId="e2b91537-111a-43d0-b70f-217da900da39" providerId="ADAL" clId="{EBFFCEBF-1646-431F-8164-EFAFB8DF970D}" dt="2024-04-08T23:56:35.459" v="3" actId="47"/>
        <pc:sldMkLst>
          <pc:docMk/>
          <pc:sldMk cId="2641679636" sldId="2147479258"/>
        </pc:sldMkLst>
      </pc:sldChg>
      <pc:sldChg chg="del">
        <pc:chgData name="Ohkuri, Takeharu(大栗 威晴)[He/Him]" userId="e2b91537-111a-43d0-b70f-217da900da39" providerId="ADAL" clId="{EBFFCEBF-1646-431F-8164-EFAFB8DF970D}" dt="2024-04-08T23:56:35.686" v="4" actId="47"/>
        <pc:sldMkLst>
          <pc:docMk/>
          <pc:sldMk cId="1354074252" sldId="2147479259"/>
        </pc:sldMkLst>
      </pc:sldChg>
      <pc:sldChg chg="del">
        <pc:chgData name="Ohkuri, Takeharu(大栗 威晴)[He/Him]" userId="e2b91537-111a-43d0-b70f-217da900da39" providerId="ADAL" clId="{EBFFCEBF-1646-431F-8164-EFAFB8DF970D}" dt="2024-04-08T23:56:35.907" v="5" actId="47"/>
        <pc:sldMkLst>
          <pc:docMk/>
          <pc:sldMk cId="2101417253" sldId="2147479260"/>
        </pc:sldMkLst>
      </pc:sldChg>
      <pc:sldChg chg="del">
        <pc:chgData name="Ohkuri, Takeharu(大栗 威晴)[He/Him]" userId="e2b91537-111a-43d0-b70f-217da900da39" providerId="ADAL" clId="{EBFFCEBF-1646-431F-8164-EFAFB8DF970D}" dt="2024-04-08T23:56:36.705" v="7" actId="47"/>
        <pc:sldMkLst>
          <pc:docMk/>
          <pc:sldMk cId="464327229" sldId="2147479261"/>
        </pc:sldMkLst>
      </pc:sldChg>
      <pc:sldChg chg="del">
        <pc:chgData name="Ohkuri, Takeharu(大栗 威晴)[He/Him]" userId="e2b91537-111a-43d0-b70f-217da900da39" providerId="ADAL" clId="{EBFFCEBF-1646-431F-8164-EFAFB8DF970D}" dt="2024-04-08T23:56:36.204" v="6" actId="47"/>
        <pc:sldMkLst>
          <pc:docMk/>
          <pc:sldMk cId="1858117581" sldId="2147479281"/>
        </pc:sldMkLst>
      </pc:sldChg>
      <pc:sldMasterChg chg="delSldLayout">
        <pc:chgData name="Ohkuri, Takeharu(大栗 威晴)[He/Him]" userId="e2b91537-111a-43d0-b70f-217da900da39" providerId="ADAL" clId="{EBFFCEBF-1646-431F-8164-EFAFB8DF970D}" dt="2024-04-08T23:56:34.869" v="1" actId="47"/>
        <pc:sldMasterMkLst>
          <pc:docMk/>
          <pc:sldMasterMk cId="2636323658" sldId="2147483835"/>
        </pc:sldMasterMkLst>
        <pc:sldLayoutChg chg="del">
          <pc:chgData name="Ohkuri, Takeharu(大栗 威晴)[He/Him]" userId="e2b91537-111a-43d0-b70f-217da900da39" providerId="ADAL" clId="{EBFFCEBF-1646-431F-8164-EFAFB8DF970D}" dt="2024-04-08T23:56:34.869" v="1" actId="47"/>
          <pc:sldLayoutMkLst>
            <pc:docMk/>
            <pc:sldMasterMk cId="2636323658" sldId="2147483835"/>
            <pc:sldLayoutMk cId="2942532449" sldId="2147483866"/>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2DCAD5FC-E9EE-44B7-849C-0D9D86695CFF}"/>
              </a:ext>
            </a:extLst>
          </p:cNvPr>
          <p:cNvSpPr>
            <a:spLocks noGrp="1"/>
          </p:cNvSpPr>
          <p:nvPr>
            <p:ph type="hdr" sz="quarter"/>
          </p:nvPr>
        </p:nvSpPr>
        <p:spPr>
          <a:xfrm>
            <a:off x="0" y="0"/>
            <a:ext cx="4306888" cy="34131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873F2C88-E5A0-4AD8-A867-16F43DA21B3E}"/>
              </a:ext>
            </a:extLst>
          </p:cNvPr>
          <p:cNvSpPr>
            <a:spLocks noGrp="1"/>
          </p:cNvSpPr>
          <p:nvPr>
            <p:ph type="dt" sz="quarter" idx="1"/>
          </p:nvPr>
        </p:nvSpPr>
        <p:spPr>
          <a:xfrm>
            <a:off x="5629275" y="0"/>
            <a:ext cx="4308475" cy="341313"/>
          </a:xfrm>
          <a:prstGeom prst="rect">
            <a:avLst/>
          </a:prstGeom>
        </p:spPr>
        <p:txBody>
          <a:bodyPr vert="horz" lIns="91440" tIns="45720" rIns="91440" bIns="45720" rtlCol="0"/>
          <a:lstStyle>
            <a:lvl1pPr algn="r">
              <a:defRPr sz="1200"/>
            </a:lvl1pPr>
          </a:lstStyle>
          <a:p>
            <a:fld id="{F83AB97B-089A-47AC-88B6-AB475E44A254}" type="datetimeFigureOut">
              <a:rPr kumimoji="1" lang="ja-JP" altLang="en-US" smtClean="0"/>
              <a:t>2024/4/9</a:t>
            </a:fld>
            <a:endParaRPr kumimoji="1" lang="ja-JP" altLang="en-US"/>
          </a:p>
        </p:txBody>
      </p:sp>
      <p:sp>
        <p:nvSpPr>
          <p:cNvPr id="4" name="フッター プレースホルダー 3">
            <a:extLst>
              <a:ext uri="{FF2B5EF4-FFF2-40B4-BE49-F238E27FC236}">
                <a16:creationId xmlns:a16="http://schemas.microsoft.com/office/drawing/2014/main" id="{0035A6E9-C5A1-4CBC-9FA8-2F682EEAB4AB}"/>
              </a:ext>
            </a:extLst>
          </p:cNvPr>
          <p:cNvSpPr>
            <a:spLocks noGrp="1"/>
          </p:cNvSpPr>
          <p:nvPr>
            <p:ph type="ftr" sz="quarter" idx="2"/>
          </p:nvPr>
        </p:nvSpPr>
        <p:spPr>
          <a:xfrm>
            <a:off x="0" y="6465888"/>
            <a:ext cx="4306888" cy="341312"/>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F677EC38-D852-4CB0-8C73-851242F39A41}"/>
              </a:ext>
            </a:extLst>
          </p:cNvPr>
          <p:cNvSpPr>
            <a:spLocks noGrp="1"/>
          </p:cNvSpPr>
          <p:nvPr>
            <p:ph type="sldNum" sz="quarter" idx="3"/>
          </p:nvPr>
        </p:nvSpPr>
        <p:spPr>
          <a:xfrm>
            <a:off x="5629275" y="6465888"/>
            <a:ext cx="4308475" cy="341312"/>
          </a:xfrm>
          <a:prstGeom prst="rect">
            <a:avLst/>
          </a:prstGeom>
        </p:spPr>
        <p:txBody>
          <a:bodyPr vert="horz" lIns="91440" tIns="45720" rIns="91440" bIns="45720" rtlCol="0" anchor="b"/>
          <a:lstStyle>
            <a:lvl1pPr algn="r">
              <a:defRPr sz="1200"/>
            </a:lvl1pPr>
          </a:lstStyle>
          <a:p>
            <a:fld id="{EFF36F55-F763-4C49-99F8-8F3490B3E4C6}" type="slidenum">
              <a:rPr kumimoji="1" lang="ja-JP" altLang="en-US" smtClean="0"/>
              <a:t>‹#›</a:t>
            </a:fld>
            <a:endParaRPr kumimoji="1" lang="ja-JP" altLang="en-US"/>
          </a:p>
        </p:txBody>
      </p:sp>
    </p:spTree>
    <p:extLst>
      <p:ext uri="{BB962C8B-B14F-4D97-AF65-F5344CB8AC3E}">
        <p14:creationId xmlns:p14="http://schemas.microsoft.com/office/powerpoint/2010/main" val="40472273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7046" cy="341936"/>
          </a:xfrm>
          <a:prstGeom prst="rect">
            <a:avLst/>
          </a:prstGeom>
        </p:spPr>
        <p:txBody>
          <a:bodyPr vert="horz" lIns="80376" tIns="40188" rIns="80376" bIns="40188" rtlCol="0"/>
          <a:lstStyle>
            <a:lvl1pPr algn="l">
              <a:defRPr sz="1100"/>
            </a:lvl1pPr>
          </a:lstStyle>
          <a:p>
            <a:endParaRPr lang="en-US" dirty="0"/>
          </a:p>
        </p:txBody>
      </p:sp>
      <p:sp>
        <p:nvSpPr>
          <p:cNvPr id="3" name="Date Placeholder 2"/>
          <p:cNvSpPr>
            <a:spLocks noGrp="1"/>
          </p:cNvSpPr>
          <p:nvPr>
            <p:ph type="dt" idx="1"/>
          </p:nvPr>
        </p:nvSpPr>
        <p:spPr>
          <a:xfrm>
            <a:off x="5629703" y="0"/>
            <a:ext cx="4307046" cy="341936"/>
          </a:xfrm>
          <a:prstGeom prst="rect">
            <a:avLst/>
          </a:prstGeom>
        </p:spPr>
        <p:txBody>
          <a:bodyPr vert="horz" lIns="80376" tIns="40188" rIns="80376" bIns="40188" rtlCol="0"/>
          <a:lstStyle>
            <a:lvl1pPr algn="r">
              <a:defRPr sz="1100"/>
            </a:lvl1pPr>
          </a:lstStyle>
          <a:p>
            <a:fld id="{58BA44E0-4508-4A5D-A49D-84FC45113B8F}" type="datetimeFigureOut">
              <a:rPr lang="en-US" smtClean="0"/>
              <a:t>4/9/2024</a:t>
            </a:fld>
            <a:endParaRPr lang="en-US" dirty="0"/>
          </a:p>
        </p:txBody>
      </p:sp>
      <p:sp>
        <p:nvSpPr>
          <p:cNvPr id="4" name="Slide Image Placeholder 3"/>
          <p:cNvSpPr>
            <a:spLocks noGrp="1" noRot="1" noChangeAspect="1"/>
          </p:cNvSpPr>
          <p:nvPr>
            <p:ph type="sldImg" idx="2"/>
          </p:nvPr>
        </p:nvSpPr>
        <p:spPr>
          <a:xfrm>
            <a:off x="2928938" y="850900"/>
            <a:ext cx="4081462" cy="2297113"/>
          </a:xfrm>
          <a:prstGeom prst="rect">
            <a:avLst/>
          </a:prstGeom>
          <a:noFill/>
          <a:ln w="12700">
            <a:solidFill>
              <a:prstClr val="black"/>
            </a:solidFill>
          </a:ln>
        </p:spPr>
        <p:txBody>
          <a:bodyPr vert="horz" lIns="80376" tIns="40188" rIns="80376" bIns="40188" rtlCol="0" anchor="ctr"/>
          <a:lstStyle/>
          <a:p>
            <a:endParaRPr lang="en-US" dirty="0"/>
          </a:p>
        </p:txBody>
      </p:sp>
      <p:sp>
        <p:nvSpPr>
          <p:cNvPr id="5" name="Notes Placeholder 4"/>
          <p:cNvSpPr>
            <a:spLocks noGrp="1"/>
          </p:cNvSpPr>
          <p:nvPr>
            <p:ph type="body" sz="quarter" idx="3"/>
          </p:nvPr>
        </p:nvSpPr>
        <p:spPr>
          <a:xfrm>
            <a:off x="993934" y="3275966"/>
            <a:ext cx="7951470" cy="2680335"/>
          </a:xfrm>
          <a:prstGeom prst="rect">
            <a:avLst/>
          </a:prstGeom>
        </p:spPr>
        <p:txBody>
          <a:bodyPr vert="horz" lIns="80376" tIns="40188" rIns="80376" bIns="4018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465265"/>
            <a:ext cx="4307046" cy="341935"/>
          </a:xfrm>
          <a:prstGeom prst="rect">
            <a:avLst/>
          </a:prstGeom>
        </p:spPr>
        <p:txBody>
          <a:bodyPr vert="horz" lIns="80376" tIns="40188" rIns="80376" bIns="40188" rtlCol="0" anchor="b"/>
          <a:lstStyle>
            <a:lvl1pPr algn="l">
              <a:defRPr sz="1100"/>
            </a:lvl1pPr>
          </a:lstStyle>
          <a:p>
            <a:endParaRPr lang="en-US" dirty="0"/>
          </a:p>
        </p:txBody>
      </p:sp>
      <p:sp>
        <p:nvSpPr>
          <p:cNvPr id="7" name="Slide Number Placeholder 6"/>
          <p:cNvSpPr>
            <a:spLocks noGrp="1"/>
          </p:cNvSpPr>
          <p:nvPr>
            <p:ph type="sldNum" sz="quarter" idx="5"/>
          </p:nvPr>
        </p:nvSpPr>
        <p:spPr>
          <a:xfrm>
            <a:off x="5629703" y="6465265"/>
            <a:ext cx="4307046" cy="341935"/>
          </a:xfrm>
          <a:prstGeom prst="rect">
            <a:avLst/>
          </a:prstGeom>
        </p:spPr>
        <p:txBody>
          <a:bodyPr vert="horz" lIns="80376" tIns="40188" rIns="80376" bIns="40188" rtlCol="0" anchor="b"/>
          <a:lstStyle>
            <a:lvl1pPr algn="r">
              <a:defRPr sz="1100"/>
            </a:lvl1pPr>
          </a:lstStyle>
          <a:p>
            <a:fld id="{15E0BA69-99FD-48BD-98F4-6BD18380566E}" type="slidenum">
              <a:rPr lang="en-US" smtClean="0"/>
              <a:t>‹#›</a:t>
            </a:fld>
            <a:endParaRPr lang="en-US" dirty="0"/>
          </a:p>
        </p:txBody>
      </p:sp>
    </p:spTree>
    <p:extLst>
      <p:ext uri="{BB962C8B-B14F-4D97-AF65-F5344CB8AC3E}">
        <p14:creationId xmlns:p14="http://schemas.microsoft.com/office/powerpoint/2010/main" val="25876544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_slid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380999" y="1542443"/>
            <a:ext cx="11357113" cy="2167152"/>
          </a:xfrm>
          <a:prstGeom prst="rect">
            <a:avLst/>
          </a:prstGeom>
        </p:spPr>
        <p:txBody>
          <a:bodyPr anchor="b" anchorCtr="0">
            <a:normAutofit/>
          </a:bodyPr>
          <a:lstStyle>
            <a:lvl1pPr algn="l">
              <a:lnSpc>
                <a:spcPct val="100000"/>
              </a:lnSpc>
              <a:defRPr kumimoji="0" lang="en-US" sz="4800" b="1" i="0" u="none" strike="noStrike" kern="0" cap="all" spc="0" normalizeH="0" baseline="0" dirty="0">
                <a:ln>
                  <a:noFill/>
                </a:ln>
                <a:solidFill>
                  <a:schemeClr val="tx2"/>
                </a:solidFill>
                <a:effectLst/>
                <a:uLnTx/>
                <a:uFillTx/>
                <a:latin typeface="Arial"/>
                <a:ea typeface="+mj-ea"/>
                <a:cs typeface="Arial"/>
              </a:defRPr>
            </a:lvl1pPr>
          </a:lstStyle>
          <a:p>
            <a:r>
              <a:rPr lang="en-US" dirty="0"/>
              <a:t>Presentation Template</a:t>
            </a:r>
          </a:p>
        </p:txBody>
      </p:sp>
      <p:sp>
        <p:nvSpPr>
          <p:cNvPr id="16" name="Subtitle 2"/>
          <p:cNvSpPr>
            <a:spLocks noGrp="1"/>
          </p:cNvSpPr>
          <p:nvPr>
            <p:ph type="subTitle" idx="1"/>
          </p:nvPr>
        </p:nvSpPr>
        <p:spPr>
          <a:xfrm>
            <a:off x="381000" y="3757654"/>
            <a:ext cx="6343650" cy="531558"/>
          </a:xfrm>
          <a:prstGeom prst="rect">
            <a:avLst/>
          </a:prstGeom>
        </p:spPr>
        <p:txBody>
          <a:bodyPr anchor="ctr" anchorCtr="0">
            <a:normAutofit/>
          </a:bodyPr>
          <a:lstStyle>
            <a:lvl1pPr marL="0" indent="0" algn="l">
              <a:lnSpc>
                <a:spcPct val="100000"/>
              </a:lnSpc>
              <a:spcBef>
                <a:spcPts val="0"/>
              </a:spcBef>
              <a:buNone/>
              <a:defRPr lang="en-US" sz="2400" b="0" kern="1200" dirty="0">
                <a:solidFill>
                  <a:schemeClr val="accent6"/>
                </a:solidFill>
                <a:latin typeface="Arial"/>
                <a:ea typeface="+mn-ea"/>
                <a:cs typeface="Aria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3" name="Text Placeholder 2"/>
          <p:cNvSpPr>
            <a:spLocks noGrp="1"/>
          </p:cNvSpPr>
          <p:nvPr>
            <p:ph type="body" sz="quarter" idx="10"/>
          </p:nvPr>
        </p:nvSpPr>
        <p:spPr>
          <a:xfrm>
            <a:off x="381000" y="4336109"/>
            <a:ext cx="6343650" cy="1196975"/>
          </a:xfrm>
          <a:prstGeom prst="rect">
            <a:avLst/>
          </a:prstGeom>
        </p:spPr>
        <p:txBody>
          <a:bodyPr>
            <a:normAutofit/>
          </a:bodyPr>
          <a:lstStyle>
            <a:lvl1pPr marL="0" indent="0">
              <a:spcBef>
                <a:spcPts val="0"/>
              </a:spcBef>
              <a:buNone/>
              <a:defRPr sz="2000" b="1">
                <a:solidFill>
                  <a:schemeClr val="tx2"/>
                </a:solidFill>
              </a:defRPr>
            </a:lvl1pPr>
          </a:lstStyle>
          <a:p>
            <a:pPr lvl="0"/>
            <a:r>
              <a:rPr lang="ja-JP" altLang="en-US"/>
              <a:t>マスター テキストの書式設定</a:t>
            </a:r>
          </a:p>
        </p:txBody>
      </p:sp>
      <p:pic>
        <p:nvPicPr>
          <p:cNvPr id="7" name="Picture 8">
            <a:extLst>
              <a:ext uri="{FF2B5EF4-FFF2-40B4-BE49-F238E27FC236}">
                <a16:creationId xmlns:a16="http://schemas.microsoft.com/office/drawing/2014/main" id="{6B4EBAFB-766D-4895-962F-A0128B3FC4DD}"/>
              </a:ext>
            </a:extLst>
          </p:cNvPr>
          <p:cNvPicPr>
            <a:picLocks noChangeAspect="1"/>
          </p:cNvPicPr>
          <p:nvPr userDrawn="1"/>
        </p:nvPicPr>
        <p:blipFill>
          <a:blip r:embed="rId2"/>
          <a:stretch>
            <a:fillRect/>
          </a:stretch>
        </p:blipFill>
        <p:spPr>
          <a:xfrm>
            <a:off x="429918" y="396058"/>
            <a:ext cx="3280580" cy="898049"/>
          </a:xfrm>
          <a:prstGeom prst="rect">
            <a:avLst/>
          </a:prstGeom>
        </p:spPr>
      </p:pic>
      <p:grpSp>
        <p:nvGrpSpPr>
          <p:cNvPr id="8" name="Group 4">
            <a:extLst>
              <a:ext uri="{FF2B5EF4-FFF2-40B4-BE49-F238E27FC236}">
                <a16:creationId xmlns:a16="http://schemas.microsoft.com/office/drawing/2014/main" id="{5EB4D431-C88F-423D-A7A7-D82C172511F3}"/>
              </a:ext>
            </a:extLst>
          </p:cNvPr>
          <p:cNvGrpSpPr>
            <a:grpSpLocks noChangeAspect="1"/>
          </p:cNvGrpSpPr>
          <p:nvPr userDrawn="1"/>
        </p:nvGrpSpPr>
        <p:grpSpPr>
          <a:xfrm>
            <a:off x="-7620" y="4613251"/>
            <a:ext cx="12207240" cy="1785944"/>
            <a:chOff x="0" y="4613251"/>
            <a:chExt cx="12192000" cy="1783714"/>
          </a:xfrm>
        </p:grpSpPr>
        <p:sp>
          <p:nvSpPr>
            <p:cNvPr id="9" name="object 18">
              <a:extLst>
                <a:ext uri="{FF2B5EF4-FFF2-40B4-BE49-F238E27FC236}">
                  <a16:creationId xmlns:a16="http://schemas.microsoft.com/office/drawing/2014/main" id="{BFD144D4-69D6-4D2E-969B-4ABF1EC28819}"/>
                </a:ext>
              </a:extLst>
            </p:cNvPr>
            <p:cNvSpPr/>
            <p:nvPr userDrawn="1"/>
          </p:nvSpPr>
          <p:spPr>
            <a:xfrm>
              <a:off x="0" y="4613251"/>
              <a:ext cx="12192000" cy="1783714"/>
            </a:xfrm>
            <a:custGeom>
              <a:avLst/>
              <a:gdLst/>
              <a:ahLst/>
              <a:cxnLst/>
              <a:rect l="l" t="t" r="r" b="b"/>
              <a:pathLst>
                <a:path w="12192000" h="1783714">
                  <a:moveTo>
                    <a:pt x="0" y="1669073"/>
                  </a:moveTo>
                  <a:lnTo>
                    <a:pt x="43521" y="1675430"/>
                  </a:lnTo>
                  <a:lnTo>
                    <a:pt x="90906" y="1682117"/>
                  </a:lnTo>
                  <a:lnTo>
                    <a:pt x="138340" y="1688577"/>
                  </a:lnTo>
                  <a:lnTo>
                    <a:pt x="185821" y="1694813"/>
                  </a:lnTo>
                  <a:lnTo>
                    <a:pt x="233351" y="1700825"/>
                  </a:lnTo>
                  <a:lnTo>
                    <a:pt x="280927" y="1706615"/>
                  </a:lnTo>
                  <a:lnTo>
                    <a:pt x="328551" y="1712183"/>
                  </a:lnTo>
                  <a:lnTo>
                    <a:pt x="376220" y="1717531"/>
                  </a:lnTo>
                  <a:lnTo>
                    <a:pt x="423936" y="1722660"/>
                  </a:lnTo>
                  <a:lnTo>
                    <a:pt x="471697" y="1727571"/>
                  </a:lnTo>
                  <a:lnTo>
                    <a:pt x="519502" y="1732265"/>
                  </a:lnTo>
                  <a:lnTo>
                    <a:pt x="567352" y="1736743"/>
                  </a:lnTo>
                  <a:lnTo>
                    <a:pt x="615246" y="1741008"/>
                  </a:lnTo>
                  <a:lnTo>
                    <a:pt x="663184" y="1745059"/>
                  </a:lnTo>
                  <a:lnTo>
                    <a:pt x="711165" y="1748898"/>
                  </a:lnTo>
                  <a:lnTo>
                    <a:pt x="759188" y="1752526"/>
                  </a:lnTo>
                  <a:lnTo>
                    <a:pt x="807253" y="1755944"/>
                  </a:lnTo>
                  <a:lnTo>
                    <a:pt x="855361" y="1759154"/>
                  </a:lnTo>
                  <a:lnTo>
                    <a:pt x="903509" y="1762157"/>
                  </a:lnTo>
                  <a:lnTo>
                    <a:pt x="951698" y="1764953"/>
                  </a:lnTo>
                  <a:lnTo>
                    <a:pt x="999927" y="1767545"/>
                  </a:lnTo>
                  <a:lnTo>
                    <a:pt x="1048197" y="1769932"/>
                  </a:lnTo>
                  <a:lnTo>
                    <a:pt x="1096505" y="1772117"/>
                  </a:lnTo>
                  <a:lnTo>
                    <a:pt x="1144853" y="1774100"/>
                  </a:lnTo>
                  <a:lnTo>
                    <a:pt x="1193239" y="1775883"/>
                  </a:lnTo>
                  <a:lnTo>
                    <a:pt x="1241663" y="1777467"/>
                  </a:lnTo>
                  <a:lnTo>
                    <a:pt x="1290125" y="1778853"/>
                  </a:lnTo>
                  <a:lnTo>
                    <a:pt x="1338623" y="1780042"/>
                  </a:lnTo>
                  <a:lnTo>
                    <a:pt x="1387159" y="1781035"/>
                  </a:lnTo>
                  <a:lnTo>
                    <a:pt x="1435730" y="1781834"/>
                  </a:lnTo>
                  <a:lnTo>
                    <a:pt x="1484338" y="1782439"/>
                  </a:lnTo>
                  <a:lnTo>
                    <a:pt x="1532980" y="1782852"/>
                  </a:lnTo>
                  <a:lnTo>
                    <a:pt x="1581658" y="1783075"/>
                  </a:lnTo>
                  <a:lnTo>
                    <a:pt x="1630369" y="1783107"/>
                  </a:lnTo>
                  <a:lnTo>
                    <a:pt x="1679115" y="1782951"/>
                  </a:lnTo>
                  <a:lnTo>
                    <a:pt x="1727894" y="1782607"/>
                  </a:lnTo>
                  <a:lnTo>
                    <a:pt x="1776706" y="1782077"/>
                  </a:lnTo>
                  <a:lnTo>
                    <a:pt x="1825551" y="1781362"/>
                  </a:lnTo>
                  <a:lnTo>
                    <a:pt x="1874427" y="1780463"/>
                  </a:lnTo>
                  <a:lnTo>
                    <a:pt x="1923335" y="1779381"/>
                  </a:lnTo>
                  <a:lnTo>
                    <a:pt x="1972275" y="1778118"/>
                  </a:lnTo>
                  <a:lnTo>
                    <a:pt x="2021245" y="1776674"/>
                  </a:lnTo>
                  <a:lnTo>
                    <a:pt x="2070245" y="1775051"/>
                  </a:lnTo>
                  <a:lnTo>
                    <a:pt x="2119275" y="1773249"/>
                  </a:lnTo>
                  <a:lnTo>
                    <a:pt x="2168334" y="1771271"/>
                  </a:lnTo>
                  <a:lnTo>
                    <a:pt x="2217422" y="1769117"/>
                  </a:lnTo>
                  <a:lnTo>
                    <a:pt x="2266539" y="1766788"/>
                  </a:lnTo>
                  <a:lnTo>
                    <a:pt x="2315683" y="1764286"/>
                  </a:lnTo>
                  <a:lnTo>
                    <a:pt x="2364855" y="1761612"/>
                  </a:lnTo>
                  <a:lnTo>
                    <a:pt x="2414054" y="1758766"/>
                  </a:lnTo>
                  <a:lnTo>
                    <a:pt x="2463280" y="1755751"/>
                  </a:lnTo>
                  <a:lnTo>
                    <a:pt x="2512531" y="1752567"/>
                  </a:lnTo>
                  <a:lnTo>
                    <a:pt x="2561809" y="1749215"/>
                  </a:lnTo>
                  <a:lnTo>
                    <a:pt x="2611111" y="1745697"/>
                  </a:lnTo>
                  <a:lnTo>
                    <a:pt x="2660438" y="1742013"/>
                  </a:lnTo>
                  <a:lnTo>
                    <a:pt x="2709790" y="1738166"/>
                  </a:lnTo>
                  <a:lnTo>
                    <a:pt x="2759165" y="1734155"/>
                  </a:lnTo>
                  <a:lnTo>
                    <a:pt x="2808563" y="1729983"/>
                  </a:lnTo>
                  <a:lnTo>
                    <a:pt x="2857985" y="1725650"/>
                  </a:lnTo>
                  <a:lnTo>
                    <a:pt x="2907429" y="1721158"/>
                  </a:lnTo>
                  <a:lnTo>
                    <a:pt x="2956895" y="1716508"/>
                  </a:lnTo>
                  <a:lnTo>
                    <a:pt x="3006382" y="1711700"/>
                  </a:lnTo>
                  <a:lnTo>
                    <a:pt x="3055890" y="1706737"/>
                  </a:lnTo>
                  <a:lnTo>
                    <a:pt x="3105419" y="1701619"/>
                  </a:lnTo>
                  <a:lnTo>
                    <a:pt x="3154968" y="1696347"/>
                  </a:lnTo>
                  <a:lnTo>
                    <a:pt x="3204537" y="1690923"/>
                  </a:lnTo>
                  <a:lnTo>
                    <a:pt x="3254125" y="1685348"/>
                  </a:lnTo>
                  <a:lnTo>
                    <a:pt x="3303732" y="1679622"/>
                  </a:lnTo>
                  <a:lnTo>
                    <a:pt x="3353357" y="1673748"/>
                  </a:lnTo>
                  <a:lnTo>
                    <a:pt x="3403000" y="1667726"/>
                  </a:lnTo>
                  <a:lnTo>
                    <a:pt x="3452660" y="1661558"/>
                  </a:lnTo>
                  <a:lnTo>
                    <a:pt x="3502338" y="1655244"/>
                  </a:lnTo>
                  <a:lnTo>
                    <a:pt x="3552031" y="1648786"/>
                  </a:lnTo>
                  <a:lnTo>
                    <a:pt x="3601741" y="1642185"/>
                  </a:lnTo>
                  <a:lnTo>
                    <a:pt x="3651466" y="1635442"/>
                  </a:lnTo>
                  <a:lnTo>
                    <a:pt x="3701207" y="1628558"/>
                  </a:lnTo>
                  <a:lnTo>
                    <a:pt x="3750962" y="1621535"/>
                  </a:lnTo>
                  <a:lnTo>
                    <a:pt x="3800731" y="1614374"/>
                  </a:lnTo>
                  <a:lnTo>
                    <a:pt x="3850514" y="1607075"/>
                  </a:lnTo>
                  <a:lnTo>
                    <a:pt x="3900310" y="1599641"/>
                  </a:lnTo>
                  <a:lnTo>
                    <a:pt x="3950119" y="1592071"/>
                  </a:lnTo>
                  <a:lnTo>
                    <a:pt x="3999940" y="1584368"/>
                  </a:lnTo>
                  <a:lnTo>
                    <a:pt x="4049774" y="1576532"/>
                  </a:lnTo>
                  <a:lnTo>
                    <a:pt x="4099618" y="1568565"/>
                  </a:lnTo>
                  <a:lnTo>
                    <a:pt x="4149474" y="1560468"/>
                  </a:lnTo>
                  <a:lnTo>
                    <a:pt x="4199340" y="1552242"/>
                  </a:lnTo>
                  <a:lnTo>
                    <a:pt x="4249216" y="1543888"/>
                  </a:lnTo>
                  <a:lnTo>
                    <a:pt x="4299102" y="1535408"/>
                  </a:lnTo>
                  <a:lnTo>
                    <a:pt x="4348997" y="1526802"/>
                  </a:lnTo>
                  <a:lnTo>
                    <a:pt x="4398900" y="1518071"/>
                  </a:lnTo>
                  <a:lnTo>
                    <a:pt x="4448812" y="1509218"/>
                  </a:lnTo>
                  <a:lnTo>
                    <a:pt x="4498731" y="1500242"/>
                  </a:lnTo>
                  <a:lnTo>
                    <a:pt x="4548658" y="1491146"/>
                  </a:lnTo>
                  <a:lnTo>
                    <a:pt x="4598592" y="1481930"/>
                  </a:lnTo>
                  <a:lnTo>
                    <a:pt x="4648532" y="1472595"/>
                  </a:lnTo>
                  <a:lnTo>
                    <a:pt x="4698478" y="1463144"/>
                  </a:lnTo>
                  <a:lnTo>
                    <a:pt x="4748429" y="1453576"/>
                  </a:lnTo>
                  <a:lnTo>
                    <a:pt x="4798386" y="1443893"/>
                  </a:lnTo>
                  <a:lnTo>
                    <a:pt x="4848347" y="1434097"/>
                  </a:lnTo>
                  <a:lnTo>
                    <a:pt x="4898312" y="1424187"/>
                  </a:lnTo>
                  <a:lnTo>
                    <a:pt x="4948280" y="1414167"/>
                  </a:lnTo>
                  <a:lnTo>
                    <a:pt x="4998252" y="1404036"/>
                  </a:lnTo>
                  <a:lnTo>
                    <a:pt x="5048227" y="1393796"/>
                  </a:lnTo>
                  <a:lnTo>
                    <a:pt x="5098204" y="1383448"/>
                  </a:lnTo>
                  <a:lnTo>
                    <a:pt x="5148182" y="1372993"/>
                  </a:lnTo>
                  <a:lnTo>
                    <a:pt x="5198162" y="1362433"/>
                  </a:lnTo>
                  <a:lnTo>
                    <a:pt x="5248143" y="1351768"/>
                  </a:lnTo>
                  <a:lnTo>
                    <a:pt x="5298124" y="1341000"/>
                  </a:lnTo>
                  <a:lnTo>
                    <a:pt x="5348106" y="1330130"/>
                  </a:lnTo>
                  <a:lnTo>
                    <a:pt x="5398086" y="1319159"/>
                  </a:lnTo>
                  <a:lnTo>
                    <a:pt x="5448066" y="1308089"/>
                  </a:lnTo>
                  <a:lnTo>
                    <a:pt x="5498044" y="1296919"/>
                  </a:lnTo>
                  <a:lnTo>
                    <a:pt x="5548021" y="1285652"/>
                  </a:lnTo>
                  <a:lnTo>
                    <a:pt x="5597995" y="1274290"/>
                  </a:lnTo>
                  <a:lnTo>
                    <a:pt x="5647966" y="1262832"/>
                  </a:lnTo>
                  <a:lnTo>
                    <a:pt x="5697935" y="1251280"/>
                  </a:lnTo>
                  <a:lnTo>
                    <a:pt x="5747899" y="1239635"/>
                  </a:lnTo>
                  <a:lnTo>
                    <a:pt x="5797859" y="1227899"/>
                  </a:lnTo>
                  <a:lnTo>
                    <a:pt x="5847815" y="1216072"/>
                  </a:lnTo>
                  <a:lnTo>
                    <a:pt x="5897765" y="1204156"/>
                  </a:lnTo>
                  <a:lnTo>
                    <a:pt x="5947711" y="1192152"/>
                  </a:lnTo>
                  <a:lnTo>
                    <a:pt x="5997650" y="1180062"/>
                  </a:lnTo>
                  <a:lnTo>
                    <a:pt x="6047582" y="1167885"/>
                  </a:lnTo>
                  <a:lnTo>
                    <a:pt x="6097508" y="1155624"/>
                  </a:lnTo>
                  <a:lnTo>
                    <a:pt x="6147426" y="1143280"/>
                  </a:lnTo>
                  <a:lnTo>
                    <a:pt x="6197336" y="1130853"/>
                  </a:lnTo>
                  <a:lnTo>
                    <a:pt x="6247239" y="1118346"/>
                  </a:lnTo>
                  <a:lnTo>
                    <a:pt x="6297132" y="1105758"/>
                  </a:lnTo>
                  <a:lnTo>
                    <a:pt x="6347016" y="1093092"/>
                  </a:lnTo>
                  <a:lnTo>
                    <a:pt x="6396891" y="1080348"/>
                  </a:lnTo>
                  <a:lnTo>
                    <a:pt x="6446755" y="1067528"/>
                  </a:lnTo>
                  <a:lnTo>
                    <a:pt x="6496609" y="1054633"/>
                  </a:lnTo>
                  <a:lnTo>
                    <a:pt x="6546452" y="1041664"/>
                  </a:lnTo>
                  <a:lnTo>
                    <a:pt x="6596283" y="1028622"/>
                  </a:lnTo>
                  <a:lnTo>
                    <a:pt x="6646102" y="1015508"/>
                  </a:lnTo>
                  <a:lnTo>
                    <a:pt x="6695909" y="1002324"/>
                  </a:lnTo>
                  <a:lnTo>
                    <a:pt x="6745703" y="989070"/>
                  </a:lnTo>
                  <a:lnTo>
                    <a:pt x="6795484" y="975748"/>
                  </a:lnTo>
                  <a:lnTo>
                    <a:pt x="6845251" y="962360"/>
                  </a:lnTo>
                  <a:lnTo>
                    <a:pt x="6895004" y="948905"/>
                  </a:lnTo>
                  <a:lnTo>
                    <a:pt x="6944742" y="935386"/>
                  </a:lnTo>
                  <a:lnTo>
                    <a:pt x="6994464" y="921803"/>
                  </a:lnTo>
                  <a:lnTo>
                    <a:pt x="7044171" y="908158"/>
                  </a:lnTo>
                  <a:lnTo>
                    <a:pt x="7093863" y="894452"/>
                  </a:lnTo>
                  <a:lnTo>
                    <a:pt x="7143537" y="880686"/>
                  </a:lnTo>
                  <a:lnTo>
                    <a:pt x="7193195" y="866861"/>
                  </a:lnTo>
                  <a:lnTo>
                    <a:pt x="7242835" y="852978"/>
                  </a:lnTo>
                  <a:lnTo>
                    <a:pt x="7292457" y="839039"/>
                  </a:lnTo>
                  <a:lnTo>
                    <a:pt x="7342061" y="825045"/>
                  </a:lnTo>
                  <a:lnTo>
                    <a:pt x="7391646" y="810996"/>
                  </a:lnTo>
                  <a:lnTo>
                    <a:pt x="7441211" y="796895"/>
                  </a:lnTo>
                  <a:lnTo>
                    <a:pt x="7490757" y="782742"/>
                  </a:lnTo>
                  <a:lnTo>
                    <a:pt x="7540283" y="768538"/>
                  </a:lnTo>
                  <a:lnTo>
                    <a:pt x="7589788" y="754284"/>
                  </a:lnTo>
                  <a:lnTo>
                    <a:pt x="7639272" y="739983"/>
                  </a:lnTo>
                  <a:lnTo>
                    <a:pt x="7688734" y="725634"/>
                  </a:lnTo>
                  <a:lnTo>
                    <a:pt x="7738174" y="711239"/>
                  </a:lnTo>
                  <a:lnTo>
                    <a:pt x="7787592" y="696800"/>
                  </a:lnTo>
                  <a:lnTo>
                    <a:pt x="7836987" y="682317"/>
                  </a:lnTo>
                  <a:lnTo>
                    <a:pt x="7886358" y="667792"/>
                  </a:lnTo>
                  <a:lnTo>
                    <a:pt x="7935706" y="653225"/>
                  </a:lnTo>
                  <a:lnTo>
                    <a:pt x="7985029" y="638618"/>
                  </a:lnTo>
                  <a:lnTo>
                    <a:pt x="8034327" y="623972"/>
                  </a:lnTo>
                  <a:lnTo>
                    <a:pt x="8083600" y="609289"/>
                  </a:lnTo>
                  <a:lnTo>
                    <a:pt x="8132848" y="594569"/>
                  </a:lnTo>
                  <a:lnTo>
                    <a:pt x="8182069" y="579813"/>
                  </a:lnTo>
                  <a:lnTo>
                    <a:pt x="8231263" y="565024"/>
                  </a:lnTo>
                  <a:lnTo>
                    <a:pt x="8280431" y="550201"/>
                  </a:lnTo>
                  <a:lnTo>
                    <a:pt x="8329571" y="535346"/>
                  </a:lnTo>
                  <a:lnTo>
                    <a:pt x="8378683" y="520461"/>
                  </a:lnTo>
                  <a:lnTo>
                    <a:pt x="8427766" y="505546"/>
                  </a:lnTo>
                  <a:lnTo>
                    <a:pt x="8476821" y="490603"/>
                  </a:lnTo>
                  <a:lnTo>
                    <a:pt x="8525846" y="475632"/>
                  </a:lnTo>
                  <a:lnTo>
                    <a:pt x="8574841" y="460635"/>
                  </a:lnTo>
                  <a:lnTo>
                    <a:pt x="8623806" y="445614"/>
                  </a:lnTo>
                  <a:lnTo>
                    <a:pt x="8672741" y="430569"/>
                  </a:lnTo>
                  <a:lnTo>
                    <a:pt x="8731141" y="412776"/>
                  </a:lnTo>
                  <a:lnTo>
                    <a:pt x="8789473" y="395387"/>
                  </a:lnTo>
                  <a:lnTo>
                    <a:pt x="8847732" y="378399"/>
                  </a:lnTo>
                  <a:lnTo>
                    <a:pt x="8905911" y="361811"/>
                  </a:lnTo>
                  <a:lnTo>
                    <a:pt x="8964005" y="345621"/>
                  </a:lnTo>
                  <a:lnTo>
                    <a:pt x="9022009" y="329826"/>
                  </a:lnTo>
                  <a:lnTo>
                    <a:pt x="9079917" y="314426"/>
                  </a:lnTo>
                  <a:lnTo>
                    <a:pt x="9137723" y="299418"/>
                  </a:lnTo>
                  <a:lnTo>
                    <a:pt x="9195422" y="284801"/>
                  </a:lnTo>
                  <a:lnTo>
                    <a:pt x="9253009" y="270573"/>
                  </a:lnTo>
                  <a:lnTo>
                    <a:pt x="9310478" y="256732"/>
                  </a:lnTo>
                  <a:lnTo>
                    <a:pt x="9367823" y="243276"/>
                  </a:lnTo>
                  <a:lnTo>
                    <a:pt x="9425039" y="230204"/>
                  </a:lnTo>
                  <a:lnTo>
                    <a:pt x="9482120" y="217514"/>
                  </a:lnTo>
                  <a:lnTo>
                    <a:pt x="9539061" y="205204"/>
                  </a:lnTo>
                  <a:lnTo>
                    <a:pt x="9595857" y="193272"/>
                  </a:lnTo>
                  <a:lnTo>
                    <a:pt x="9652501" y="181716"/>
                  </a:lnTo>
                  <a:lnTo>
                    <a:pt x="9708989" y="170535"/>
                  </a:lnTo>
                  <a:lnTo>
                    <a:pt x="9765314" y="159728"/>
                  </a:lnTo>
                  <a:lnTo>
                    <a:pt x="9821471" y="149291"/>
                  </a:lnTo>
                  <a:lnTo>
                    <a:pt x="9877455" y="139224"/>
                  </a:lnTo>
                  <a:lnTo>
                    <a:pt x="9933260" y="129524"/>
                  </a:lnTo>
                  <a:lnTo>
                    <a:pt x="9988881" y="120191"/>
                  </a:lnTo>
                  <a:lnTo>
                    <a:pt x="10044312" y="111221"/>
                  </a:lnTo>
                  <a:lnTo>
                    <a:pt x="10099547" y="102614"/>
                  </a:lnTo>
                  <a:lnTo>
                    <a:pt x="10154581" y="94367"/>
                  </a:lnTo>
                  <a:lnTo>
                    <a:pt x="10209409" y="86479"/>
                  </a:lnTo>
                  <a:lnTo>
                    <a:pt x="10264024" y="78948"/>
                  </a:lnTo>
                  <a:lnTo>
                    <a:pt x="10318422" y="71772"/>
                  </a:lnTo>
                  <a:lnTo>
                    <a:pt x="10372597" y="64950"/>
                  </a:lnTo>
                  <a:lnTo>
                    <a:pt x="10426544" y="58479"/>
                  </a:lnTo>
                  <a:lnTo>
                    <a:pt x="10480256" y="52359"/>
                  </a:lnTo>
                  <a:lnTo>
                    <a:pt x="10533728" y="46586"/>
                  </a:lnTo>
                  <a:lnTo>
                    <a:pt x="10586955" y="41160"/>
                  </a:lnTo>
                  <a:lnTo>
                    <a:pt x="10639932" y="36078"/>
                  </a:lnTo>
                  <a:lnTo>
                    <a:pt x="10692652" y="31340"/>
                  </a:lnTo>
                  <a:lnTo>
                    <a:pt x="10745110" y="26942"/>
                  </a:lnTo>
                  <a:lnTo>
                    <a:pt x="10797301" y="22883"/>
                  </a:lnTo>
                  <a:lnTo>
                    <a:pt x="10849219" y="19162"/>
                  </a:lnTo>
                  <a:lnTo>
                    <a:pt x="10900859" y="15777"/>
                  </a:lnTo>
                  <a:lnTo>
                    <a:pt x="10952214" y="12726"/>
                  </a:lnTo>
                  <a:lnTo>
                    <a:pt x="11003281" y="10007"/>
                  </a:lnTo>
                  <a:lnTo>
                    <a:pt x="11054052" y="7618"/>
                  </a:lnTo>
                  <a:lnTo>
                    <a:pt x="11104522" y="5558"/>
                  </a:lnTo>
                  <a:lnTo>
                    <a:pt x="11154687" y="3825"/>
                  </a:lnTo>
                  <a:lnTo>
                    <a:pt x="11204540" y="2417"/>
                  </a:lnTo>
                  <a:lnTo>
                    <a:pt x="11254076" y="1332"/>
                  </a:lnTo>
                  <a:lnTo>
                    <a:pt x="11303289" y="569"/>
                  </a:lnTo>
                  <a:lnTo>
                    <a:pt x="11352174" y="125"/>
                  </a:lnTo>
                  <a:lnTo>
                    <a:pt x="11400726" y="0"/>
                  </a:lnTo>
                  <a:lnTo>
                    <a:pt x="11448938" y="190"/>
                  </a:lnTo>
                  <a:lnTo>
                    <a:pt x="11496805" y="695"/>
                  </a:lnTo>
                  <a:lnTo>
                    <a:pt x="11544322" y="1513"/>
                  </a:lnTo>
                  <a:lnTo>
                    <a:pt x="11591483" y="2642"/>
                  </a:lnTo>
                  <a:lnTo>
                    <a:pt x="11638283" y="4080"/>
                  </a:lnTo>
                  <a:lnTo>
                    <a:pt x="11684716" y="5825"/>
                  </a:lnTo>
                  <a:lnTo>
                    <a:pt x="11730777" y="7876"/>
                  </a:lnTo>
                  <a:lnTo>
                    <a:pt x="11776460" y="10231"/>
                  </a:lnTo>
                  <a:lnTo>
                    <a:pt x="11821759" y="12887"/>
                  </a:lnTo>
                  <a:lnTo>
                    <a:pt x="11866669" y="15844"/>
                  </a:lnTo>
                  <a:lnTo>
                    <a:pt x="11911185" y="19100"/>
                  </a:lnTo>
                  <a:lnTo>
                    <a:pt x="11955300" y="22652"/>
                  </a:lnTo>
                  <a:lnTo>
                    <a:pt x="11999010" y="26499"/>
                  </a:lnTo>
                  <a:lnTo>
                    <a:pt x="12042309" y="30639"/>
                  </a:lnTo>
                  <a:lnTo>
                    <a:pt x="12085191" y="35071"/>
                  </a:lnTo>
                  <a:lnTo>
                    <a:pt x="12127651" y="39792"/>
                  </a:lnTo>
                  <a:lnTo>
                    <a:pt x="12169684" y="44801"/>
                  </a:lnTo>
                  <a:lnTo>
                    <a:pt x="12192000" y="47642"/>
                  </a:lnTo>
                </a:path>
              </a:pathLst>
            </a:custGeom>
            <a:ln w="25400">
              <a:solidFill>
                <a:srgbClr val="DA1E4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Arial"/>
                <a:ea typeface="BIZ UDPゴシック"/>
                <a:cs typeface="+mn-cs"/>
              </a:endParaRPr>
            </a:p>
          </p:txBody>
        </p:sp>
        <p:sp>
          <p:nvSpPr>
            <p:cNvPr id="10" name="object 19">
              <a:extLst>
                <a:ext uri="{FF2B5EF4-FFF2-40B4-BE49-F238E27FC236}">
                  <a16:creationId xmlns:a16="http://schemas.microsoft.com/office/drawing/2014/main" id="{C8232F46-8905-47D7-9779-D61B70F578CD}"/>
                </a:ext>
              </a:extLst>
            </p:cNvPr>
            <p:cNvSpPr/>
            <p:nvPr userDrawn="1"/>
          </p:nvSpPr>
          <p:spPr>
            <a:xfrm>
              <a:off x="0" y="5047558"/>
              <a:ext cx="12192000" cy="1029969"/>
            </a:xfrm>
            <a:custGeom>
              <a:avLst/>
              <a:gdLst/>
              <a:ahLst/>
              <a:cxnLst/>
              <a:rect l="l" t="t" r="r" b="b"/>
              <a:pathLst>
                <a:path w="12192000" h="1029970">
                  <a:moveTo>
                    <a:pt x="12192000" y="68478"/>
                  </a:moveTo>
                  <a:lnTo>
                    <a:pt x="12140152" y="60680"/>
                  </a:lnTo>
                  <a:lnTo>
                    <a:pt x="12100389" y="55127"/>
                  </a:lnTo>
                  <a:lnTo>
                    <a:pt x="12060079" y="49836"/>
                  </a:lnTo>
                  <a:lnTo>
                    <a:pt x="12019228" y="44806"/>
                  </a:lnTo>
                  <a:lnTo>
                    <a:pt x="11977843" y="40039"/>
                  </a:lnTo>
                  <a:lnTo>
                    <a:pt x="11935931" y="35535"/>
                  </a:lnTo>
                  <a:lnTo>
                    <a:pt x="11893498" y="31296"/>
                  </a:lnTo>
                  <a:lnTo>
                    <a:pt x="11850553" y="27322"/>
                  </a:lnTo>
                  <a:lnTo>
                    <a:pt x="11807101" y="23614"/>
                  </a:lnTo>
                  <a:lnTo>
                    <a:pt x="11763149" y="20173"/>
                  </a:lnTo>
                  <a:lnTo>
                    <a:pt x="11718704" y="16999"/>
                  </a:lnTo>
                  <a:lnTo>
                    <a:pt x="11673773" y="14094"/>
                  </a:lnTo>
                  <a:lnTo>
                    <a:pt x="11628363" y="11458"/>
                  </a:lnTo>
                  <a:lnTo>
                    <a:pt x="11582481" y="9093"/>
                  </a:lnTo>
                  <a:lnTo>
                    <a:pt x="11536134" y="6999"/>
                  </a:lnTo>
                  <a:lnTo>
                    <a:pt x="11489327" y="5176"/>
                  </a:lnTo>
                  <a:lnTo>
                    <a:pt x="11442069" y="3627"/>
                  </a:lnTo>
                  <a:lnTo>
                    <a:pt x="11394366" y="2351"/>
                  </a:lnTo>
                  <a:lnTo>
                    <a:pt x="11346225" y="1349"/>
                  </a:lnTo>
                  <a:lnTo>
                    <a:pt x="11297653" y="623"/>
                  </a:lnTo>
                  <a:lnTo>
                    <a:pt x="11248656" y="173"/>
                  </a:lnTo>
                  <a:lnTo>
                    <a:pt x="11199242" y="0"/>
                  </a:lnTo>
                  <a:lnTo>
                    <a:pt x="11149417" y="104"/>
                  </a:lnTo>
                  <a:lnTo>
                    <a:pt x="11099188" y="488"/>
                  </a:lnTo>
                  <a:lnTo>
                    <a:pt x="11048563" y="1150"/>
                  </a:lnTo>
                  <a:lnTo>
                    <a:pt x="10997547" y="2094"/>
                  </a:lnTo>
                  <a:lnTo>
                    <a:pt x="10946148" y="3318"/>
                  </a:lnTo>
                  <a:lnTo>
                    <a:pt x="10894372" y="4825"/>
                  </a:lnTo>
                  <a:lnTo>
                    <a:pt x="10842227" y="6614"/>
                  </a:lnTo>
                  <a:lnTo>
                    <a:pt x="10789719" y="8687"/>
                  </a:lnTo>
                  <a:lnTo>
                    <a:pt x="10736855" y="11045"/>
                  </a:lnTo>
                  <a:lnTo>
                    <a:pt x="10683641" y="13688"/>
                  </a:lnTo>
                  <a:lnTo>
                    <a:pt x="10630086" y="16617"/>
                  </a:lnTo>
                  <a:lnTo>
                    <a:pt x="10576195" y="19834"/>
                  </a:lnTo>
                  <a:lnTo>
                    <a:pt x="10521976" y="23338"/>
                  </a:lnTo>
                  <a:lnTo>
                    <a:pt x="10467435" y="27131"/>
                  </a:lnTo>
                  <a:lnTo>
                    <a:pt x="10412579" y="31214"/>
                  </a:lnTo>
                  <a:lnTo>
                    <a:pt x="10357416" y="35588"/>
                  </a:lnTo>
                  <a:lnTo>
                    <a:pt x="10301951" y="40253"/>
                  </a:lnTo>
                  <a:lnTo>
                    <a:pt x="10246191" y="45209"/>
                  </a:lnTo>
                  <a:lnTo>
                    <a:pt x="10190145" y="50459"/>
                  </a:lnTo>
                  <a:lnTo>
                    <a:pt x="10133817" y="56003"/>
                  </a:lnTo>
                  <a:lnTo>
                    <a:pt x="10077216" y="61842"/>
                  </a:lnTo>
                  <a:lnTo>
                    <a:pt x="10020348" y="67976"/>
                  </a:lnTo>
                  <a:lnTo>
                    <a:pt x="9963220" y="74406"/>
                  </a:lnTo>
                  <a:lnTo>
                    <a:pt x="9905838" y="81134"/>
                  </a:lnTo>
                  <a:lnTo>
                    <a:pt x="9848211" y="88160"/>
                  </a:lnTo>
                  <a:lnTo>
                    <a:pt x="9790343" y="95485"/>
                  </a:lnTo>
                  <a:lnTo>
                    <a:pt x="9732243" y="103109"/>
                  </a:lnTo>
                  <a:lnTo>
                    <a:pt x="9673917" y="111034"/>
                  </a:lnTo>
                  <a:lnTo>
                    <a:pt x="9615372" y="119261"/>
                  </a:lnTo>
                  <a:lnTo>
                    <a:pt x="9556615" y="127790"/>
                  </a:lnTo>
                  <a:lnTo>
                    <a:pt x="9497653" y="136622"/>
                  </a:lnTo>
                  <a:lnTo>
                    <a:pt x="9438492" y="145758"/>
                  </a:lnTo>
                  <a:lnTo>
                    <a:pt x="9379139" y="155199"/>
                  </a:lnTo>
                  <a:lnTo>
                    <a:pt x="9319602" y="164946"/>
                  </a:lnTo>
                  <a:lnTo>
                    <a:pt x="9259887" y="174999"/>
                  </a:lnTo>
                  <a:lnTo>
                    <a:pt x="9200000" y="185359"/>
                  </a:lnTo>
                  <a:lnTo>
                    <a:pt x="9139950" y="196028"/>
                  </a:lnTo>
                  <a:lnTo>
                    <a:pt x="9079742" y="207006"/>
                  </a:lnTo>
                  <a:lnTo>
                    <a:pt x="9019383" y="218294"/>
                  </a:lnTo>
                  <a:lnTo>
                    <a:pt x="8958881" y="229892"/>
                  </a:lnTo>
                  <a:lnTo>
                    <a:pt x="8898242" y="241802"/>
                  </a:lnTo>
                  <a:lnTo>
                    <a:pt x="8837473" y="254025"/>
                  </a:lnTo>
                  <a:lnTo>
                    <a:pt x="8776581" y="266561"/>
                  </a:lnTo>
                  <a:lnTo>
                    <a:pt x="8730075" y="276234"/>
                  </a:lnTo>
                  <a:lnTo>
                    <a:pt x="8683456" y="285898"/>
                  </a:lnTo>
                  <a:lnTo>
                    <a:pt x="8636725" y="295551"/>
                  </a:lnTo>
                  <a:lnTo>
                    <a:pt x="8589883" y="305193"/>
                  </a:lnTo>
                  <a:lnTo>
                    <a:pt x="8542932" y="314822"/>
                  </a:lnTo>
                  <a:lnTo>
                    <a:pt x="8495874" y="324437"/>
                  </a:lnTo>
                  <a:lnTo>
                    <a:pt x="8448708" y="334036"/>
                  </a:lnTo>
                  <a:lnTo>
                    <a:pt x="8401438" y="343619"/>
                  </a:lnTo>
                  <a:lnTo>
                    <a:pt x="8354063" y="353184"/>
                  </a:lnTo>
                  <a:lnTo>
                    <a:pt x="8306585" y="362731"/>
                  </a:lnTo>
                  <a:lnTo>
                    <a:pt x="8259006" y="372257"/>
                  </a:lnTo>
                  <a:lnTo>
                    <a:pt x="8211326" y="381763"/>
                  </a:lnTo>
                  <a:lnTo>
                    <a:pt x="8163548" y="391246"/>
                  </a:lnTo>
                  <a:lnTo>
                    <a:pt x="8115671" y="400706"/>
                  </a:lnTo>
                  <a:lnTo>
                    <a:pt x="8067699" y="410141"/>
                  </a:lnTo>
                  <a:lnTo>
                    <a:pt x="8019631" y="419550"/>
                  </a:lnTo>
                  <a:lnTo>
                    <a:pt x="7971470" y="428932"/>
                  </a:lnTo>
                  <a:lnTo>
                    <a:pt x="7923216" y="438285"/>
                  </a:lnTo>
                  <a:lnTo>
                    <a:pt x="7874870" y="447610"/>
                  </a:lnTo>
                  <a:lnTo>
                    <a:pt x="7826435" y="456904"/>
                  </a:lnTo>
                  <a:lnTo>
                    <a:pt x="7777911" y="466166"/>
                  </a:lnTo>
                  <a:lnTo>
                    <a:pt x="7729300" y="475395"/>
                  </a:lnTo>
                  <a:lnTo>
                    <a:pt x="7680602" y="484590"/>
                  </a:lnTo>
                  <a:lnTo>
                    <a:pt x="7631820" y="493750"/>
                  </a:lnTo>
                  <a:lnTo>
                    <a:pt x="7582954" y="502873"/>
                  </a:lnTo>
                  <a:lnTo>
                    <a:pt x="7534006" y="511958"/>
                  </a:lnTo>
                  <a:lnTo>
                    <a:pt x="7484977" y="521005"/>
                  </a:lnTo>
                  <a:lnTo>
                    <a:pt x="7435868" y="530012"/>
                  </a:lnTo>
                  <a:lnTo>
                    <a:pt x="7386681" y="538978"/>
                  </a:lnTo>
                  <a:lnTo>
                    <a:pt x="7337417" y="547901"/>
                  </a:lnTo>
                  <a:lnTo>
                    <a:pt x="7288077" y="556781"/>
                  </a:lnTo>
                  <a:lnTo>
                    <a:pt x="7238662" y="565616"/>
                  </a:lnTo>
                  <a:lnTo>
                    <a:pt x="7189175" y="574405"/>
                  </a:lnTo>
                  <a:lnTo>
                    <a:pt x="7139615" y="583147"/>
                  </a:lnTo>
                  <a:lnTo>
                    <a:pt x="7089984" y="591840"/>
                  </a:lnTo>
                  <a:lnTo>
                    <a:pt x="7040285" y="600485"/>
                  </a:lnTo>
                  <a:lnTo>
                    <a:pt x="6990517" y="609078"/>
                  </a:lnTo>
                  <a:lnTo>
                    <a:pt x="6940682" y="617620"/>
                  </a:lnTo>
                  <a:lnTo>
                    <a:pt x="6890782" y="626109"/>
                  </a:lnTo>
                  <a:lnTo>
                    <a:pt x="6840817" y="634544"/>
                  </a:lnTo>
                  <a:lnTo>
                    <a:pt x="6790790" y="642924"/>
                  </a:lnTo>
                  <a:lnTo>
                    <a:pt x="6740701" y="651247"/>
                  </a:lnTo>
                  <a:lnTo>
                    <a:pt x="6690551" y="659512"/>
                  </a:lnTo>
                  <a:lnTo>
                    <a:pt x="6640343" y="667719"/>
                  </a:lnTo>
                  <a:lnTo>
                    <a:pt x="6590076" y="675865"/>
                  </a:lnTo>
                  <a:lnTo>
                    <a:pt x="6539753" y="683950"/>
                  </a:lnTo>
                  <a:lnTo>
                    <a:pt x="6489375" y="691973"/>
                  </a:lnTo>
                  <a:lnTo>
                    <a:pt x="6438943" y="699932"/>
                  </a:lnTo>
                  <a:lnTo>
                    <a:pt x="6388458" y="707827"/>
                  </a:lnTo>
                  <a:lnTo>
                    <a:pt x="6337922" y="715655"/>
                  </a:lnTo>
                  <a:lnTo>
                    <a:pt x="6287336" y="723417"/>
                  </a:lnTo>
                  <a:lnTo>
                    <a:pt x="6236701" y="731110"/>
                  </a:lnTo>
                  <a:lnTo>
                    <a:pt x="6186019" y="738734"/>
                  </a:lnTo>
                  <a:lnTo>
                    <a:pt x="6135290" y="746287"/>
                  </a:lnTo>
                  <a:lnTo>
                    <a:pt x="6084516" y="753768"/>
                  </a:lnTo>
                  <a:lnTo>
                    <a:pt x="6033699" y="761177"/>
                  </a:lnTo>
                  <a:lnTo>
                    <a:pt x="5982839" y="768511"/>
                  </a:lnTo>
                  <a:lnTo>
                    <a:pt x="5931938" y="775769"/>
                  </a:lnTo>
                  <a:lnTo>
                    <a:pt x="5880998" y="782952"/>
                  </a:lnTo>
                  <a:lnTo>
                    <a:pt x="5830019" y="790056"/>
                  </a:lnTo>
                  <a:lnTo>
                    <a:pt x="5779002" y="797082"/>
                  </a:lnTo>
                  <a:lnTo>
                    <a:pt x="5727950" y="804027"/>
                  </a:lnTo>
                  <a:lnTo>
                    <a:pt x="5676863" y="810892"/>
                  </a:lnTo>
                  <a:lnTo>
                    <a:pt x="5625743" y="817674"/>
                  </a:lnTo>
                  <a:lnTo>
                    <a:pt x="5574591" y="824372"/>
                  </a:lnTo>
                  <a:lnTo>
                    <a:pt x="5523407" y="830986"/>
                  </a:lnTo>
                  <a:lnTo>
                    <a:pt x="5472195" y="837513"/>
                  </a:lnTo>
                  <a:lnTo>
                    <a:pt x="5420954" y="843954"/>
                  </a:lnTo>
                  <a:lnTo>
                    <a:pt x="5369686" y="850306"/>
                  </a:lnTo>
                  <a:lnTo>
                    <a:pt x="5318393" y="856568"/>
                  </a:lnTo>
                  <a:lnTo>
                    <a:pt x="5267075" y="862740"/>
                  </a:lnTo>
                  <a:lnTo>
                    <a:pt x="5215734" y="868820"/>
                  </a:lnTo>
                  <a:lnTo>
                    <a:pt x="5164371" y="874807"/>
                  </a:lnTo>
                  <a:lnTo>
                    <a:pt x="5112988" y="880700"/>
                  </a:lnTo>
                  <a:lnTo>
                    <a:pt x="5061586" y="886498"/>
                  </a:lnTo>
                  <a:lnTo>
                    <a:pt x="5010165" y="892199"/>
                  </a:lnTo>
                  <a:lnTo>
                    <a:pt x="4958728" y="897802"/>
                  </a:lnTo>
                  <a:lnTo>
                    <a:pt x="4907276" y="903306"/>
                  </a:lnTo>
                  <a:lnTo>
                    <a:pt x="4855810" y="908710"/>
                  </a:lnTo>
                  <a:lnTo>
                    <a:pt x="4804331" y="914013"/>
                  </a:lnTo>
                  <a:lnTo>
                    <a:pt x="4752840" y="919214"/>
                  </a:lnTo>
                  <a:lnTo>
                    <a:pt x="4701339" y="924311"/>
                  </a:lnTo>
                  <a:lnTo>
                    <a:pt x="4649829" y="929303"/>
                  </a:lnTo>
                  <a:lnTo>
                    <a:pt x="4598312" y="934189"/>
                  </a:lnTo>
                  <a:lnTo>
                    <a:pt x="4546788" y="938968"/>
                  </a:lnTo>
                  <a:lnTo>
                    <a:pt x="4495259" y="943638"/>
                  </a:lnTo>
                  <a:lnTo>
                    <a:pt x="4443726" y="948199"/>
                  </a:lnTo>
                  <a:lnTo>
                    <a:pt x="4392191" y="952649"/>
                  </a:lnTo>
                  <a:lnTo>
                    <a:pt x="4340655" y="956988"/>
                  </a:lnTo>
                  <a:lnTo>
                    <a:pt x="4289119" y="961213"/>
                  </a:lnTo>
                  <a:lnTo>
                    <a:pt x="4237584" y="965324"/>
                  </a:lnTo>
                  <a:lnTo>
                    <a:pt x="4186052" y="969320"/>
                  </a:lnTo>
                  <a:lnTo>
                    <a:pt x="4134523" y="973199"/>
                  </a:lnTo>
                  <a:lnTo>
                    <a:pt x="4083000" y="976961"/>
                  </a:lnTo>
                  <a:lnTo>
                    <a:pt x="4031484" y="980603"/>
                  </a:lnTo>
                  <a:lnTo>
                    <a:pt x="3979975" y="984125"/>
                  </a:lnTo>
                  <a:lnTo>
                    <a:pt x="3928475" y="987526"/>
                  </a:lnTo>
                  <a:lnTo>
                    <a:pt x="3876986" y="990805"/>
                  </a:lnTo>
                  <a:lnTo>
                    <a:pt x="3825508" y="993960"/>
                  </a:lnTo>
                  <a:lnTo>
                    <a:pt x="3774044" y="996990"/>
                  </a:lnTo>
                  <a:lnTo>
                    <a:pt x="3722593" y="999894"/>
                  </a:lnTo>
                  <a:lnTo>
                    <a:pt x="3671158" y="1002670"/>
                  </a:lnTo>
                  <a:lnTo>
                    <a:pt x="3619740" y="1005319"/>
                  </a:lnTo>
                  <a:lnTo>
                    <a:pt x="3568340" y="1007838"/>
                  </a:lnTo>
                  <a:lnTo>
                    <a:pt x="3516960" y="1010226"/>
                  </a:lnTo>
                  <a:lnTo>
                    <a:pt x="3465600" y="1012482"/>
                  </a:lnTo>
                  <a:lnTo>
                    <a:pt x="3414262" y="1014605"/>
                  </a:lnTo>
                  <a:lnTo>
                    <a:pt x="3362947" y="1016594"/>
                  </a:lnTo>
                  <a:lnTo>
                    <a:pt x="3311656" y="1018447"/>
                  </a:lnTo>
                  <a:lnTo>
                    <a:pt x="3260392" y="1020164"/>
                  </a:lnTo>
                  <a:lnTo>
                    <a:pt x="3209155" y="1021743"/>
                  </a:lnTo>
                  <a:lnTo>
                    <a:pt x="3157946" y="1023183"/>
                  </a:lnTo>
                  <a:lnTo>
                    <a:pt x="3106766" y="1024483"/>
                  </a:lnTo>
                  <a:lnTo>
                    <a:pt x="3055618" y="1025642"/>
                  </a:lnTo>
                  <a:lnTo>
                    <a:pt x="3004502" y="1026658"/>
                  </a:lnTo>
                  <a:lnTo>
                    <a:pt x="2953419" y="1027530"/>
                  </a:lnTo>
                  <a:lnTo>
                    <a:pt x="2902371" y="1028257"/>
                  </a:lnTo>
                  <a:lnTo>
                    <a:pt x="2851360" y="1028839"/>
                  </a:lnTo>
                  <a:lnTo>
                    <a:pt x="2800385" y="1029273"/>
                  </a:lnTo>
                  <a:lnTo>
                    <a:pt x="2749450" y="1029559"/>
                  </a:lnTo>
                  <a:lnTo>
                    <a:pt x="2698554" y="1029695"/>
                  </a:lnTo>
                  <a:lnTo>
                    <a:pt x="2647700" y="1029680"/>
                  </a:lnTo>
                  <a:lnTo>
                    <a:pt x="2596888" y="1029514"/>
                  </a:lnTo>
                  <a:lnTo>
                    <a:pt x="2546120" y="1029194"/>
                  </a:lnTo>
                  <a:lnTo>
                    <a:pt x="2495397" y="1028720"/>
                  </a:lnTo>
                  <a:lnTo>
                    <a:pt x="2444720" y="1028091"/>
                  </a:lnTo>
                  <a:lnTo>
                    <a:pt x="2394091" y="1027305"/>
                  </a:lnTo>
                  <a:lnTo>
                    <a:pt x="2343511" y="1026361"/>
                  </a:lnTo>
                  <a:lnTo>
                    <a:pt x="2292981" y="1025258"/>
                  </a:lnTo>
                  <a:lnTo>
                    <a:pt x="2242503" y="1023995"/>
                  </a:lnTo>
                  <a:lnTo>
                    <a:pt x="2192078" y="1022570"/>
                  </a:lnTo>
                  <a:lnTo>
                    <a:pt x="2141707" y="1020983"/>
                  </a:lnTo>
                  <a:lnTo>
                    <a:pt x="2091391" y="1019233"/>
                  </a:lnTo>
                  <a:lnTo>
                    <a:pt x="2041132" y="1017317"/>
                  </a:lnTo>
                  <a:lnTo>
                    <a:pt x="1990931" y="1015235"/>
                  </a:lnTo>
                  <a:lnTo>
                    <a:pt x="1940789" y="1012986"/>
                  </a:lnTo>
                  <a:lnTo>
                    <a:pt x="1890707" y="1010569"/>
                  </a:lnTo>
                  <a:lnTo>
                    <a:pt x="1840688" y="1007982"/>
                  </a:lnTo>
                  <a:lnTo>
                    <a:pt x="1790731" y="1005224"/>
                  </a:lnTo>
                  <a:lnTo>
                    <a:pt x="1740839" y="1002295"/>
                  </a:lnTo>
                  <a:lnTo>
                    <a:pt x="1691013" y="999192"/>
                  </a:lnTo>
                  <a:lnTo>
                    <a:pt x="1641254" y="995914"/>
                  </a:lnTo>
                  <a:lnTo>
                    <a:pt x="1591562" y="992462"/>
                  </a:lnTo>
                  <a:lnTo>
                    <a:pt x="1541941" y="988832"/>
                  </a:lnTo>
                  <a:lnTo>
                    <a:pt x="1492390" y="985025"/>
                  </a:lnTo>
                  <a:lnTo>
                    <a:pt x="1442911" y="981039"/>
                  </a:lnTo>
                  <a:lnTo>
                    <a:pt x="1393506" y="976872"/>
                  </a:lnTo>
                  <a:lnTo>
                    <a:pt x="1344176" y="972524"/>
                  </a:lnTo>
                  <a:lnTo>
                    <a:pt x="1294921" y="967993"/>
                  </a:lnTo>
                  <a:lnTo>
                    <a:pt x="1245744" y="963279"/>
                  </a:lnTo>
                  <a:lnTo>
                    <a:pt x="1196645" y="958380"/>
                  </a:lnTo>
                  <a:lnTo>
                    <a:pt x="1147626" y="953295"/>
                  </a:lnTo>
                  <a:lnTo>
                    <a:pt x="1098689" y="948022"/>
                  </a:lnTo>
                  <a:lnTo>
                    <a:pt x="1049833" y="942561"/>
                  </a:lnTo>
                  <a:lnTo>
                    <a:pt x="1001062" y="936910"/>
                  </a:lnTo>
                  <a:lnTo>
                    <a:pt x="952375" y="931069"/>
                  </a:lnTo>
                  <a:lnTo>
                    <a:pt x="903774" y="925035"/>
                  </a:lnTo>
                  <a:lnTo>
                    <a:pt x="855262" y="918808"/>
                  </a:lnTo>
                  <a:lnTo>
                    <a:pt x="806838" y="912387"/>
                  </a:lnTo>
                  <a:lnTo>
                    <a:pt x="758504" y="905771"/>
                  </a:lnTo>
                  <a:lnTo>
                    <a:pt x="710261" y="898957"/>
                  </a:lnTo>
                  <a:lnTo>
                    <a:pt x="662111" y="891946"/>
                  </a:lnTo>
                  <a:lnTo>
                    <a:pt x="614056" y="884736"/>
                  </a:lnTo>
                  <a:lnTo>
                    <a:pt x="566095" y="877325"/>
                  </a:lnTo>
                  <a:lnTo>
                    <a:pt x="518231" y="869713"/>
                  </a:lnTo>
                  <a:lnTo>
                    <a:pt x="470465" y="861899"/>
                  </a:lnTo>
                  <a:lnTo>
                    <a:pt x="422798" y="853880"/>
                  </a:lnTo>
                  <a:lnTo>
                    <a:pt x="375232" y="845657"/>
                  </a:lnTo>
                  <a:lnTo>
                    <a:pt x="327767" y="837228"/>
                  </a:lnTo>
                  <a:lnTo>
                    <a:pt x="280405" y="828591"/>
                  </a:lnTo>
                  <a:lnTo>
                    <a:pt x="233147" y="819746"/>
                  </a:lnTo>
                  <a:lnTo>
                    <a:pt x="185995" y="810691"/>
                  </a:lnTo>
                  <a:lnTo>
                    <a:pt x="138950" y="801425"/>
                  </a:lnTo>
                  <a:lnTo>
                    <a:pt x="92013" y="791947"/>
                  </a:lnTo>
                  <a:lnTo>
                    <a:pt x="45186" y="782256"/>
                  </a:lnTo>
                  <a:lnTo>
                    <a:pt x="0" y="772675"/>
                  </a:lnTo>
                </a:path>
              </a:pathLst>
            </a:custGeom>
            <a:ln w="25400">
              <a:solidFill>
                <a:srgbClr val="93959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Arial"/>
                <a:ea typeface="BIZ UDPゴシック"/>
                <a:cs typeface="+mn-cs"/>
              </a:endParaRPr>
            </a:p>
          </p:txBody>
        </p:sp>
      </p:grpSp>
      <p:sp>
        <p:nvSpPr>
          <p:cNvPr id="17" name="TextBox 16">
            <a:extLst>
              <a:ext uri="{FF2B5EF4-FFF2-40B4-BE49-F238E27FC236}">
                <a16:creationId xmlns:a16="http://schemas.microsoft.com/office/drawing/2014/main" id="{81EA2938-8DB3-4BF8-833E-60AD0FA720EC}"/>
              </a:ext>
            </a:extLst>
          </p:cNvPr>
          <p:cNvSpPr txBox="1"/>
          <p:nvPr userDrawn="1"/>
        </p:nvSpPr>
        <p:spPr>
          <a:xfrm>
            <a:off x="2454206" y="6525070"/>
            <a:ext cx="7210697" cy="246221"/>
          </a:xfrm>
          <a:prstGeom prst="rect">
            <a:avLst/>
          </a:prstGeom>
          <a:noFill/>
        </p:spPr>
        <p:txBody>
          <a:bodyPr wrap="square">
            <a:spAutoFit/>
          </a:bodyPr>
          <a:lstStyle/>
          <a:p>
            <a:r>
              <a:rPr lang="en-US" altLang="ja-JP" sz="1000" dirty="0">
                <a:effectLst/>
                <a:latin typeface="Arial" panose="020B0604020202020204" pitchFamily="34" charset="0"/>
                <a:ea typeface="游ゴシック" panose="020B0400000000000000" pitchFamily="50" charset="-128"/>
                <a:cs typeface="Times New Roman" panose="02020603050405020304" pitchFamily="18" charset="0"/>
              </a:rPr>
              <a:t>CONFIDENTIAL AND PROPRIETARY. FOR INTERNAL ASTELLAS USE ONLY. DO NOT DISTRIBUTE EXTERNALLY.</a:t>
            </a:r>
            <a:endParaRPr lang="ja-JP" altLang="en-US" sz="1000" dirty="0"/>
          </a:p>
        </p:txBody>
      </p:sp>
    </p:spTree>
    <p:extLst>
      <p:ext uri="{BB962C8B-B14F-4D97-AF65-F5344CB8AC3E}">
        <p14:creationId xmlns:p14="http://schemas.microsoft.com/office/powerpoint/2010/main" val="2102686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with titl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278200" y="451455"/>
            <a:ext cx="685800" cy="685802"/>
          </a:xfrm>
          <a:prstGeom prst="rect">
            <a:avLst/>
          </a:prstGeom>
        </p:spPr>
        <p:txBody>
          <a:bodyPr/>
          <a:lstStyle/>
          <a:p>
            <a:fld id="{69AE0398-C5D1-4C23-8BB8-6DF786637BD0}" type="slidenum">
              <a:rPr lang="en-US" smtClean="0"/>
              <a:t>‹#›</a:t>
            </a:fld>
            <a:endParaRPr lang="en-US" dirty="0"/>
          </a:p>
        </p:txBody>
      </p:sp>
      <p:sp>
        <p:nvSpPr>
          <p:cNvPr id="3" name="Title 2">
            <a:extLst>
              <a:ext uri="{FF2B5EF4-FFF2-40B4-BE49-F238E27FC236}">
                <a16:creationId xmlns:a16="http://schemas.microsoft.com/office/drawing/2014/main" id="{EDFF93F6-124F-4C20-A87A-A2892E635252}"/>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8321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278200" y="451455"/>
            <a:ext cx="685800" cy="685802"/>
          </a:xfrm>
          <a:prstGeom prst="rect">
            <a:avLst/>
          </a:prstGeom>
        </p:spPr>
        <p:txBody>
          <a:bodyPr/>
          <a:lstStyle/>
          <a:p>
            <a:fld id="{69AE0398-C5D1-4C23-8BB8-6DF786637BD0}" type="slidenum">
              <a:rPr lang="en-US" smtClean="0"/>
              <a:t>‹#›</a:t>
            </a:fld>
            <a:endParaRPr lang="en-US" dirty="0"/>
          </a:p>
        </p:txBody>
      </p:sp>
    </p:spTree>
    <p:extLst>
      <p:ext uri="{BB962C8B-B14F-4D97-AF65-F5344CB8AC3E}">
        <p14:creationId xmlns:p14="http://schemas.microsoft.com/office/powerpoint/2010/main" val="170552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Section Break">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595313" y="2770239"/>
            <a:ext cx="9809213" cy="632636"/>
          </a:xfrm>
          <a:prstGeom prst="rect">
            <a:avLst/>
          </a:prstGeom>
        </p:spPr>
        <p:txBody>
          <a:bodyPr bIns="0" anchor="ctr" anchorCtr="0">
            <a:noAutofit/>
          </a:bodyPr>
          <a:lstStyle>
            <a:lvl1pPr algn="l">
              <a:lnSpc>
                <a:spcPct val="100000"/>
              </a:lnSpc>
              <a:defRPr kumimoji="0" lang="en-US" sz="4800" b="1" i="0" u="none" strike="noStrike" kern="0" cap="all" spc="0" normalizeH="0" baseline="0" dirty="0">
                <a:ln>
                  <a:noFill/>
                </a:ln>
                <a:solidFill>
                  <a:schemeClr val="tx2"/>
                </a:solidFill>
                <a:effectLst/>
                <a:uLnTx/>
                <a:uFillTx/>
                <a:latin typeface="Arial" panose="020B0604020202020204" pitchFamily="34" charset="0"/>
                <a:ea typeface="+mj-ea"/>
                <a:cs typeface="Arial" panose="020B0604020202020204" pitchFamily="34" charset="0"/>
              </a:defRPr>
            </a:lvl1pPr>
          </a:lstStyle>
          <a:p>
            <a:r>
              <a:rPr lang="en-US" dirty="0"/>
              <a:t>SECTION TITLE</a:t>
            </a:r>
          </a:p>
        </p:txBody>
      </p:sp>
      <p:sp>
        <p:nvSpPr>
          <p:cNvPr id="9" name="object 3"/>
          <p:cNvSpPr/>
          <p:nvPr userDrawn="1"/>
        </p:nvSpPr>
        <p:spPr>
          <a:xfrm>
            <a:off x="0" y="2739786"/>
            <a:ext cx="228600" cy="685801"/>
          </a:xfrm>
          <a:custGeom>
            <a:avLst/>
            <a:gdLst/>
            <a:ahLst/>
            <a:cxnLst/>
            <a:rect l="l" t="t" r="r" b="b"/>
            <a:pathLst>
              <a:path w="228600" h="914400">
                <a:moveTo>
                  <a:pt x="0" y="914400"/>
                </a:moveTo>
                <a:lnTo>
                  <a:pt x="228600" y="914400"/>
                </a:lnTo>
                <a:lnTo>
                  <a:pt x="228600" y="0"/>
                </a:lnTo>
                <a:lnTo>
                  <a:pt x="0" y="0"/>
                </a:lnTo>
                <a:lnTo>
                  <a:pt x="0" y="914400"/>
                </a:lnTo>
                <a:close/>
              </a:path>
            </a:pathLst>
          </a:custGeom>
          <a:solidFill>
            <a:srgbClr val="D91E4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Arial"/>
            </a:endParaRPr>
          </a:p>
        </p:txBody>
      </p:sp>
      <p:sp>
        <p:nvSpPr>
          <p:cNvPr id="6" name="Text Placeholder 5"/>
          <p:cNvSpPr>
            <a:spLocks noGrp="1"/>
          </p:cNvSpPr>
          <p:nvPr>
            <p:ph type="body" sz="quarter" idx="10"/>
          </p:nvPr>
        </p:nvSpPr>
        <p:spPr>
          <a:xfrm>
            <a:off x="595313" y="3503392"/>
            <a:ext cx="9802812" cy="485775"/>
          </a:xfrm>
          <a:prstGeom prst="rect">
            <a:avLst/>
          </a:prstGeom>
        </p:spPr>
        <p:txBody>
          <a:bodyPr anchor="ctr" anchorCtr="0"/>
          <a:lstStyle>
            <a:lvl1pPr marL="0" indent="0">
              <a:buNone/>
              <a:defRPr sz="2000" b="0" cap="all" baseline="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ja-JP" altLang="en-US"/>
              <a:t>マスター テキストの書式設定</a:t>
            </a:r>
          </a:p>
        </p:txBody>
      </p:sp>
      <p:sp>
        <p:nvSpPr>
          <p:cNvPr id="8" name="スライド番号プレースホルダー 7">
            <a:extLst>
              <a:ext uri="{FF2B5EF4-FFF2-40B4-BE49-F238E27FC236}">
                <a16:creationId xmlns:a16="http://schemas.microsoft.com/office/drawing/2014/main" id="{29FB2570-28BE-451A-909A-9964E277809D}"/>
              </a:ext>
            </a:extLst>
          </p:cNvPr>
          <p:cNvSpPr>
            <a:spLocks noGrp="1"/>
          </p:cNvSpPr>
          <p:nvPr>
            <p:ph type="sldNum" sz="quarter" idx="12"/>
          </p:nvPr>
        </p:nvSpPr>
        <p:spPr>
          <a:xfrm>
            <a:off x="11278200" y="451455"/>
            <a:ext cx="685800" cy="685802"/>
          </a:xfrm>
          <a:prstGeom prst="rect">
            <a:avLst/>
          </a:prstGeom>
        </p:spPr>
        <p:txBody>
          <a:bodyPr/>
          <a:lstStyle/>
          <a:p>
            <a:fld id="{69AE0398-C5D1-4C23-8BB8-6DF786637BD0}" type="slidenum">
              <a:rPr lang="en-US" smtClean="0"/>
              <a:pPr/>
              <a:t>‹#›</a:t>
            </a:fld>
            <a:endParaRPr lang="en-US" dirty="0"/>
          </a:p>
        </p:txBody>
      </p:sp>
      <p:pic>
        <p:nvPicPr>
          <p:cNvPr id="11" name="Picture 10">
            <a:extLst>
              <a:ext uri="{FF2B5EF4-FFF2-40B4-BE49-F238E27FC236}">
                <a16:creationId xmlns:a16="http://schemas.microsoft.com/office/drawing/2014/main" id="{88928940-59BF-426B-88C3-5B62EF0857A2}"/>
              </a:ext>
            </a:extLst>
          </p:cNvPr>
          <p:cNvPicPr>
            <a:picLocks noChangeAspect="1"/>
          </p:cNvPicPr>
          <p:nvPr userDrawn="1"/>
        </p:nvPicPr>
        <p:blipFill>
          <a:blip r:embed="rId2"/>
          <a:stretch>
            <a:fillRect/>
          </a:stretch>
        </p:blipFill>
        <p:spPr>
          <a:xfrm>
            <a:off x="10683840" y="6401415"/>
            <a:ext cx="1280160" cy="350440"/>
          </a:xfrm>
          <a:prstGeom prst="rect">
            <a:avLst/>
          </a:prstGeom>
        </p:spPr>
      </p:pic>
      <p:sp>
        <p:nvSpPr>
          <p:cNvPr id="7" name="TextBox 16">
            <a:extLst>
              <a:ext uri="{FF2B5EF4-FFF2-40B4-BE49-F238E27FC236}">
                <a16:creationId xmlns:a16="http://schemas.microsoft.com/office/drawing/2014/main" id="{41715798-4140-45FA-ACBC-AC93C0003738}"/>
              </a:ext>
            </a:extLst>
          </p:cNvPr>
          <p:cNvSpPr txBox="1"/>
          <p:nvPr userDrawn="1"/>
        </p:nvSpPr>
        <p:spPr>
          <a:xfrm>
            <a:off x="2454206" y="6525070"/>
            <a:ext cx="7210697" cy="246221"/>
          </a:xfrm>
          <a:prstGeom prst="rect">
            <a:avLst/>
          </a:prstGeom>
          <a:noFill/>
        </p:spPr>
        <p:txBody>
          <a:bodyPr wrap="square">
            <a:spAutoFit/>
          </a:bodyPr>
          <a:lstStyle/>
          <a:p>
            <a:r>
              <a:rPr lang="en-US" altLang="ja-JP" sz="1000" dirty="0">
                <a:effectLst/>
                <a:latin typeface="Arial" panose="020B0604020202020204" pitchFamily="34" charset="0"/>
                <a:ea typeface="游ゴシック" panose="020B0400000000000000" pitchFamily="50" charset="-128"/>
                <a:cs typeface="Times New Roman" panose="02020603050405020304" pitchFamily="18" charset="0"/>
              </a:rPr>
              <a:t>CONFIDENTIAL AND PROPRIETARY. FOR INTERNAL ASTELLAS USE ONLY. DO NOT DISTRIBUTE EXTERNALLY.</a:t>
            </a:r>
            <a:endParaRPr lang="ja-JP" altLang="en-US" sz="1000" dirty="0"/>
          </a:p>
        </p:txBody>
      </p:sp>
    </p:spTree>
    <p:extLst>
      <p:ext uri="{BB962C8B-B14F-4D97-AF65-F5344CB8AC3E}">
        <p14:creationId xmlns:p14="http://schemas.microsoft.com/office/powerpoint/2010/main" val="2881154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with one colum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278200" y="451455"/>
            <a:ext cx="685800" cy="685802"/>
          </a:xfrm>
          <a:prstGeom prst="rect">
            <a:avLst/>
          </a:prstGeom>
        </p:spPr>
        <p:txBody>
          <a:bodyPr/>
          <a:lstStyle/>
          <a:p>
            <a:fld id="{69AE0398-C5D1-4C23-8BB8-6DF786637BD0}" type="slidenum">
              <a:rPr lang="en-US" smtClean="0"/>
              <a:t>‹#›</a:t>
            </a:fld>
            <a:endParaRPr lang="en-US" dirty="0"/>
          </a:p>
        </p:txBody>
      </p:sp>
      <p:sp>
        <p:nvSpPr>
          <p:cNvPr id="11" name="テキスト プレースホルダー 19">
            <a:extLst>
              <a:ext uri="{FF2B5EF4-FFF2-40B4-BE49-F238E27FC236}">
                <a16:creationId xmlns:a16="http://schemas.microsoft.com/office/drawing/2014/main" id="{CBFA9530-92D5-45C0-A31D-BC1E668BF5CC}"/>
              </a:ext>
            </a:extLst>
          </p:cNvPr>
          <p:cNvSpPr>
            <a:spLocks noGrp="1"/>
          </p:cNvSpPr>
          <p:nvPr>
            <p:ph type="body" sz="quarter" idx="13"/>
          </p:nvPr>
        </p:nvSpPr>
        <p:spPr>
          <a:xfrm>
            <a:off x="248477" y="1381057"/>
            <a:ext cx="11698358" cy="4862989"/>
          </a:xfrm>
          <a:prstGeom prst="rect">
            <a:avLst/>
          </a:prstGeom>
        </p:spPr>
        <p:txBody>
          <a:bodyPr/>
          <a:lstStyle>
            <a:lvl1pPr>
              <a:defRPr sz="2000">
                <a:latin typeface="+mj-lt"/>
              </a:defRPr>
            </a:lvl1pPr>
            <a:lvl2pPr>
              <a:defRPr sz="1800">
                <a:latin typeface="+mj-lt"/>
              </a:defRPr>
            </a:lvl2pPr>
            <a:lvl3pPr>
              <a:defRPr sz="1600">
                <a:latin typeface="+mj-lt"/>
              </a:defRPr>
            </a:lvl3pPr>
            <a:lvl4pPr>
              <a:defRPr sz="1500">
                <a:latin typeface="+mj-lt"/>
              </a:defRPr>
            </a:lvl4pPr>
            <a:lvl5pPr marL="917575" indent="0">
              <a:buFont typeface="Arial" panose="020B0604020202020204" pitchFamily="34" charset="0"/>
              <a:buNone/>
              <a:defRPr sz="1400">
                <a:latin typeface="+mj-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
        <p:nvSpPr>
          <p:cNvPr id="3" name="Title 2">
            <a:extLst>
              <a:ext uri="{FF2B5EF4-FFF2-40B4-BE49-F238E27FC236}">
                <a16:creationId xmlns:a16="http://schemas.microsoft.com/office/drawing/2014/main" id="{A3E33FBE-B5D4-4BEC-B8F8-7F369184F749}"/>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12845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with Agend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278200" y="451455"/>
            <a:ext cx="685800" cy="685802"/>
          </a:xfrm>
          <a:prstGeom prst="rect">
            <a:avLst/>
          </a:prstGeom>
        </p:spPr>
        <p:txBody>
          <a:bodyPr/>
          <a:lstStyle/>
          <a:p>
            <a:fld id="{69AE0398-C5D1-4C23-8BB8-6DF786637BD0}" type="slidenum">
              <a:rPr lang="en-US" smtClean="0"/>
              <a:t>‹#›</a:t>
            </a:fld>
            <a:endParaRPr lang="en-US" dirty="0"/>
          </a:p>
        </p:txBody>
      </p:sp>
      <p:sp>
        <p:nvSpPr>
          <p:cNvPr id="17" name="Text Placeholder 16"/>
          <p:cNvSpPr>
            <a:spLocks noGrp="1"/>
          </p:cNvSpPr>
          <p:nvPr>
            <p:ph type="body" sz="quarter" idx="13" hasCustomPrompt="1"/>
          </p:nvPr>
        </p:nvSpPr>
        <p:spPr>
          <a:xfrm>
            <a:off x="461092" y="1622709"/>
            <a:ext cx="740664" cy="740664"/>
          </a:xfrm>
          <a:prstGeom prst="rect">
            <a:avLst/>
          </a:prstGeom>
          <a:solidFill>
            <a:schemeClr val="accent1"/>
          </a:solidFill>
        </p:spPr>
        <p:txBody>
          <a:bodyPr anchor="ctr" anchorCtr="0">
            <a:normAutofit/>
          </a:bodyPr>
          <a:lstStyle>
            <a:lvl1pPr marL="0" indent="0" algn="ctr">
              <a:buNone/>
              <a:defRPr sz="1800" b="0">
                <a:solidFill>
                  <a:schemeClr val="bg1"/>
                </a:solidFill>
              </a:defRPr>
            </a:lvl1pPr>
          </a:lstStyle>
          <a:p>
            <a:pPr lvl="0"/>
            <a:r>
              <a:rPr lang="en-US" dirty="0"/>
              <a:t>#</a:t>
            </a:r>
          </a:p>
        </p:txBody>
      </p:sp>
      <p:sp>
        <p:nvSpPr>
          <p:cNvPr id="20" name="Text Placeholder 16"/>
          <p:cNvSpPr>
            <a:spLocks noGrp="1"/>
          </p:cNvSpPr>
          <p:nvPr>
            <p:ph type="body" sz="quarter" idx="15" hasCustomPrompt="1"/>
          </p:nvPr>
        </p:nvSpPr>
        <p:spPr>
          <a:xfrm>
            <a:off x="462243" y="2918071"/>
            <a:ext cx="740664" cy="740664"/>
          </a:xfrm>
          <a:prstGeom prst="rect">
            <a:avLst/>
          </a:prstGeom>
          <a:solidFill>
            <a:schemeClr val="accent2"/>
          </a:solidFill>
        </p:spPr>
        <p:txBody>
          <a:bodyPr anchor="ctr" anchorCtr="0">
            <a:normAutofit/>
          </a:bodyPr>
          <a:lstStyle>
            <a:lvl1pPr marL="0" indent="0" algn="ctr">
              <a:buNone/>
              <a:defRPr sz="1800" b="0">
                <a:solidFill>
                  <a:schemeClr val="bg1"/>
                </a:solidFill>
              </a:defRPr>
            </a:lvl1pPr>
          </a:lstStyle>
          <a:p>
            <a:pPr lvl="0"/>
            <a:r>
              <a:rPr lang="en-US" dirty="0"/>
              <a:t>#</a:t>
            </a:r>
          </a:p>
        </p:txBody>
      </p:sp>
      <p:sp>
        <p:nvSpPr>
          <p:cNvPr id="21" name="Text Placeholder 16"/>
          <p:cNvSpPr>
            <a:spLocks noGrp="1"/>
          </p:cNvSpPr>
          <p:nvPr>
            <p:ph type="body" sz="quarter" idx="16" hasCustomPrompt="1"/>
          </p:nvPr>
        </p:nvSpPr>
        <p:spPr>
          <a:xfrm>
            <a:off x="472182" y="4217978"/>
            <a:ext cx="740664" cy="740664"/>
          </a:xfrm>
          <a:prstGeom prst="rect">
            <a:avLst/>
          </a:prstGeom>
          <a:solidFill>
            <a:schemeClr val="accent3"/>
          </a:solidFill>
        </p:spPr>
        <p:txBody>
          <a:bodyPr anchor="ctr" anchorCtr="0">
            <a:normAutofit/>
          </a:bodyPr>
          <a:lstStyle>
            <a:lvl1pPr marL="0" indent="0" algn="ctr">
              <a:buNone/>
              <a:defRPr sz="1800" b="0">
                <a:solidFill>
                  <a:schemeClr val="bg1"/>
                </a:solidFill>
              </a:defRPr>
            </a:lvl1pPr>
          </a:lstStyle>
          <a:p>
            <a:pPr lvl="0"/>
            <a:r>
              <a:rPr lang="en-US" dirty="0"/>
              <a:t>#</a:t>
            </a:r>
          </a:p>
        </p:txBody>
      </p:sp>
      <p:sp>
        <p:nvSpPr>
          <p:cNvPr id="22" name="Text Placeholder 16"/>
          <p:cNvSpPr>
            <a:spLocks noGrp="1"/>
          </p:cNvSpPr>
          <p:nvPr>
            <p:ph type="body" sz="quarter" idx="17" hasCustomPrompt="1"/>
          </p:nvPr>
        </p:nvSpPr>
        <p:spPr>
          <a:xfrm>
            <a:off x="5336863" y="1622709"/>
            <a:ext cx="740664" cy="740664"/>
          </a:xfrm>
          <a:prstGeom prst="rect">
            <a:avLst/>
          </a:prstGeom>
          <a:solidFill>
            <a:schemeClr val="accent4"/>
          </a:solidFill>
        </p:spPr>
        <p:txBody>
          <a:bodyPr anchor="ctr" anchorCtr="0">
            <a:normAutofit/>
          </a:bodyPr>
          <a:lstStyle>
            <a:lvl1pPr marL="0" indent="0" algn="ctr">
              <a:buNone/>
              <a:defRPr sz="1800" b="0">
                <a:solidFill>
                  <a:schemeClr val="bg1"/>
                </a:solidFill>
              </a:defRPr>
            </a:lvl1pPr>
          </a:lstStyle>
          <a:p>
            <a:pPr lvl="0"/>
            <a:r>
              <a:rPr lang="en-US" dirty="0"/>
              <a:t>#</a:t>
            </a:r>
          </a:p>
        </p:txBody>
      </p:sp>
      <p:sp>
        <p:nvSpPr>
          <p:cNvPr id="23" name="Text Placeholder 16"/>
          <p:cNvSpPr>
            <a:spLocks noGrp="1"/>
          </p:cNvSpPr>
          <p:nvPr>
            <p:ph type="body" sz="quarter" idx="18" hasCustomPrompt="1"/>
          </p:nvPr>
        </p:nvSpPr>
        <p:spPr>
          <a:xfrm>
            <a:off x="5336863" y="2918071"/>
            <a:ext cx="740664" cy="740664"/>
          </a:xfrm>
          <a:prstGeom prst="rect">
            <a:avLst/>
          </a:prstGeom>
          <a:solidFill>
            <a:schemeClr val="accent5"/>
          </a:solidFill>
        </p:spPr>
        <p:txBody>
          <a:bodyPr anchor="ctr" anchorCtr="0">
            <a:normAutofit/>
          </a:bodyPr>
          <a:lstStyle>
            <a:lvl1pPr marL="0" indent="0" algn="ctr">
              <a:buNone/>
              <a:defRPr sz="1800" b="0">
                <a:solidFill>
                  <a:schemeClr val="bg1"/>
                </a:solidFill>
              </a:defRPr>
            </a:lvl1pPr>
          </a:lstStyle>
          <a:p>
            <a:pPr lvl="0"/>
            <a:r>
              <a:rPr lang="en-US" dirty="0"/>
              <a:t>#</a:t>
            </a:r>
          </a:p>
        </p:txBody>
      </p:sp>
      <p:sp>
        <p:nvSpPr>
          <p:cNvPr id="24" name="Text Placeholder 16"/>
          <p:cNvSpPr>
            <a:spLocks noGrp="1"/>
          </p:cNvSpPr>
          <p:nvPr>
            <p:ph type="body" sz="quarter" idx="19" hasCustomPrompt="1"/>
          </p:nvPr>
        </p:nvSpPr>
        <p:spPr>
          <a:xfrm>
            <a:off x="5336863" y="4217978"/>
            <a:ext cx="740664" cy="740664"/>
          </a:xfrm>
          <a:prstGeom prst="rect">
            <a:avLst/>
          </a:prstGeom>
          <a:solidFill>
            <a:schemeClr val="accent6"/>
          </a:solidFill>
        </p:spPr>
        <p:txBody>
          <a:bodyPr anchor="ctr" anchorCtr="0">
            <a:normAutofit/>
          </a:bodyPr>
          <a:lstStyle>
            <a:lvl1pPr marL="0" indent="0" algn="ctr">
              <a:buNone/>
              <a:defRPr sz="1800" b="0">
                <a:solidFill>
                  <a:schemeClr val="bg1"/>
                </a:solidFill>
              </a:defRPr>
            </a:lvl1pPr>
          </a:lstStyle>
          <a:p>
            <a:pPr lvl="0"/>
            <a:r>
              <a:rPr lang="en-US" dirty="0"/>
              <a:t>#</a:t>
            </a:r>
          </a:p>
        </p:txBody>
      </p:sp>
      <p:sp>
        <p:nvSpPr>
          <p:cNvPr id="25" name="Text Placeholder 18"/>
          <p:cNvSpPr>
            <a:spLocks noGrp="1"/>
          </p:cNvSpPr>
          <p:nvPr>
            <p:ph type="body" sz="quarter" idx="20"/>
          </p:nvPr>
        </p:nvSpPr>
        <p:spPr>
          <a:xfrm>
            <a:off x="1231573" y="1604236"/>
            <a:ext cx="3316561" cy="759137"/>
          </a:xfrm>
          <a:prstGeom prst="rect">
            <a:avLst/>
          </a:prstGeom>
        </p:spPr>
        <p:txBody>
          <a:bodyPr anchor="ctr" anchorCtr="0">
            <a:normAutofit/>
          </a:bodyPr>
          <a:lstStyle>
            <a:lvl1pPr marL="0" indent="0">
              <a:buNone/>
              <a:defRPr sz="1800" b="1">
                <a:solidFill>
                  <a:schemeClr val="tx2"/>
                </a:solidFill>
              </a:defRPr>
            </a:lvl1pPr>
          </a:lstStyle>
          <a:p>
            <a:pPr lvl="0"/>
            <a:r>
              <a:rPr lang="ja-JP" altLang="en-US"/>
              <a:t>マスター テキストの書式設定</a:t>
            </a:r>
          </a:p>
        </p:txBody>
      </p:sp>
      <p:sp>
        <p:nvSpPr>
          <p:cNvPr id="26" name="Text Placeholder 18"/>
          <p:cNvSpPr>
            <a:spLocks noGrp="1"/>
          </p:cNvSpPr>
          <p:nvPr>
            <p:ph type="body" sz="quarter" idx="21"/>
          </p:nvPr>
        </p:nvSpPr>
        <p:spPr>
          <a:xfrm>
            <a:off x="1221396" y="2923471"/>
            <a:ext cx="3356318" cy="729863"/>
          </a:xfrm>
          <a:prstGeom prst="rect">
            <a:avLst/>
          </a:prstGeom>
        </p:spPr>
        <p:txBody>
          <a:bodyPr anchor="ctr" anchorCtr="0">
            <a:normAutofit/>
          </a:bodyPr>
          <a:lstStyle>
            <a:lvl1pPr marL="0" indent="0">
              <a:buNone/>
              <a:defRPr sz="1800" b="1">
                <a:solidFill>
                  <a:schemeClr val="tx2"/>
                </a:solidFill>
              </a:defRPr>
            </a:lvl1pPr>
          </a:lstStyle>
          <a:p>
            <a:pPr lvl="0"/>
            <a:r>
              <a:rPr lang="ja-JP" altLang="en-US"/>
              <a:t>マスター テキストの書式設定</a:t>
            </a:r>
          </a:p>
        </p:txBody>
      </p:sp>
      <p:sp>
        <p:nvSpPr>
          <p:cNvPr id="27" name="Text Placeholder 18"/>
          <p:cNvSpPr>
            <a:spLocks noGrp="1"/>
          </p:cNvSpPr>
          <p:nvPr>
            <p:ph type="body" sz="quarter" idx="22"/>
          </p:nvPr>
        </p:nvSpPr>
        <p:spPr>
          <a:xfrm>
            <a:off x="1231572" y="4218399"/>
            <a:ext cx="3316561" cy="759137"/>
          </a:xfrm>
          <a:prstGeom prst="rect">
            <a:avLst/>
          </a:prstGeom>
        </p:spPr>
        <p:txBody>
          <a:bodyPr anchor="ctr" anchorCtr="0">
            <a:normAutofit/>
          </a:bodyPr>
          <a:lstStyle>
            <a:lvl1pPr marL="0" indent="0">
              <a:buNone/>
              <a:defRPr sz="1800" b="1">
                <a:solidFill>
                  <a:schemeClr val="tx2"/>
                </a:solidFill>
              </a:defRPr>
            </a:lvl1pPr>
          </a:lstStyle>
          <a:p>
            <a:pPr lvl="0"/>
            <a:r>
              <a:rPr lang="ja-JP" altLang="en-US"/>
              <a:t>マスター テキストの書式設定</a:t>
            </a:r>
          </a:p>
        </p:txBody>
      </p:sp>
      <p:sp>
        <p:nvSpPr>
          <p:cNvPr id="28" name="Text Placeholder 18"/>
          <p:cNvSpPr>
            <a:spLocks noGrp="1"/>
          </p:cNvSpPr>
          <p:nvPr>
            <p:ph type="body" sz="quarter" idx="23"/>
          </p:nvPr>
        </p:nvSpPr>
        <p:spPr>
          <a:xfrm>
            <a:off x="6077525" y="1604235"/>
            <a:ext cx="3316561" cy="759137"/>
          </a:xfrm>
          <a:prstGeom prst="rect">
            <a:avLst/>
          </a:prstGeom>
        </p:spPr>
        <p:txBody>
          <a:bodyPr anchor="ctr" anchorCtr="0">
            <a:normAutofit/>
          </a:bodyPr>
          <a:lstStyle>
            <a:lvl1pPr marL="0" indent="0">
              <a:buNone/>
              <a:defRPr sz="1800" b="1">
                <a:solidFill>
                  <a:schemeClr val="tx2"/>
                </a:solidFill>
              </a:defRPr>
            </a:lvl1pPr>
          </a:lstStyle>
          <a:p>
            <a:pPr lvl="0"/>
            <a:r>
              <a:rPr lang="ja-JP" altLang="en-US"/>
              <a:t>マスター テキストの書式設定</a:t>
            </a:r>
          </a:p>
        </p:txBody>
      </p:sp>
      <p:sp>
        <p:nvSpPr>
          <p:cNvPr id="29" name="Text Placeholder 18"/>
          <p:cNvSpPr>
            <a:spLocks noGrp="1"/>
          </p:cNvSpPr>
          <p:nvPr>
            <p:ph type="body" sz="quarter" idx="24"/>
          </p:nvPr>
        </p:nvSpPr>
        <p:spPr>
          <a:xfrm>
            <a:off x="6077523" y="2894197"/>
            <a:ext cx="3316561" cy="759137"/>
          </a:xfrm>
          <a:prstGeom prst="rect">
            <a:avLst/>
          </a:prstGeom>
        </p:spPr>
        <p:txBody>
          <a:bodyPr anchor="ctr" anchorCtr="0">
            <a:normAutofit/>
          </a:bodyPr>
          <a:lstStyle>
            <a:lvl1pPr marL="0" indent="0">
              <a:buNone/>
              <a:defRPr sz="1800" b="1">
                <a:solidFill>
                  <a:schemeClr val="tx2"/>
                </a:solidFill>
              </a:defRPr>
            </a:lvl1pPr>
          </a:lstStyle>
          <a:p>
            <a:pPr lvl="0"/>
            <a:r>
              <a:rPr lang="ja-JP" altLang="en-US"/>
              <a:t>マスター テキストの書式設定</a:t>
            </a:r>
          </a:p>
        </p:txBody>
      </p:sp>
      <p:sp>
        <p:nvSpPr>
          <p:cNvPr id="18" name="Text Placeholder 18">
            <a:extLst>
              <a:ext uri="{FF2B5EF4-FFF2-40B4-BE49-F238E27FC236}">
                <a16:creationId xmlns:a16="http://schemas.microsoft.com/office/drawing/2014/main" id="{40292553-7B2C-494C-AC5B-FC28A5E12782}"/>
              </a:ext>
            </a:extLst>
          </p:cNvPr>
          <p:cNvSpPr>
            <a:spLocks noGrp="1"/>
          </p:cNvSpPr>
          <p:nvPr>
            <p:ph type="body" sz="quarter" idx="26"/>
          </p:nvPr>
        </p:nvSpPr>
        <p:spPr>
          <a:xfrm>
            <a:off x="6077524" y="4208741"/>
            <a:ext cx="3316561" cy="759137"/>
          </a:xfrm>
          <a:prstGeom prst="rect">
            <a:avLst/>
          </a:prstGeom>
        </p:spPr>
        <p:txBody>
          <a:bodyPr anchor="ctr" anchorCtr="0">
            <a:normAutofit/>
          </a:bodyPr>
          <a:lstStyle>
            <a:lvl1pPr marL="0" indent="0">
              <a:buNone/>
              <a:defRPr sz="1800" b="1">
                <a:solidFill>
                  <a:schemeClr val="tx2"/>
                </a:solidFill>
              </a:defRPr>
            </a:lvl1pPr>
          </a:lstStyle>
          <a:p>
            <a:pPr lvl="0"/>
            <a:r>
              <a:rPr lang="ja-JP" altLang="en-US"/>
              <a:t>マスター テキストの書式設定</a:t>
            </a:r>
          </a:p>
        </p:txBody>
      </p:sp>
      <p:sp>
        <p:nvSpPr>
          <p:cNvPr id="3" name="Title 2">
            <a:extLst>
              <a:ext uri="{FF2B5EF4-FFF2-40B4-BE49-F238E27FC236}">
                <a16:creationId xmlns:a16="http://schemas.microsoft.com/office/drawing/2014/main" id="{5724E856-0790-4CCD-87C2-E5F93880C24A}"/>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1857450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with two cloum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278200" y="451455"/>
            <a:ext cx="685800" cy="685802"/>
          </a:xfrm>
          <a:prstGeom prst="rect">
            <a:avLst/>
          </a:prstGeom>
        </p:spPr>
        <p:txBody>
          <a:bodyPr/>
          <a:lstStyle/>
          <a:p>
            <a:fld id="{69AE0398-C5D1-4C23-8BB8-6DF786637BD0}" type="slidenum">
              <a:rPr lang="en-US" smtClean="0"/>
              <a:t>‹#›</a:t>
            </a:fld>
            <a:endParaRPr lang="en-US" dirty="0"/>
          </a:p>
        </p:txBody>
      </p:sp>
      <p:sp>
        <p:nvSpPr>
          <p:cNvPr id="5" name="Content Placeholder 2"/>
          <p:cNvSpPr>
            <a:spLocks noGrp="1"/>
          </p:cNvSpPr>
          <p:nvPr>
            <p:ph idx="13"/>
          </p:nvPr>
        </p:nvSpPr>
        <p:spPr>
          <a:xfrm>
            <a:off x="253675" y="1371599"/>
            <a:ext cx="5760000" cy="4412513"/>
          </a:xfrm>
          <a:prstGeom prst="rect">
            <a:avLst/>
          </a:prstGeom>
        </p:spPr>
        <p:txBody>
          <a:bodyPr/>
          <a:lstStyle>
            <a:lvl1pPr>
              <a:defRPr sz="2000"/>
            </a:lvl1pPr>
            <a:lvl2pPr>
              <a:defRPr sz="1800"/>
            </a:lvl2pPr>
            <a:lvl3pPr>
              <a:defRPr sz="1600"/>
            </a:lvl3pPr>
            <a:lvl4pPr>
              <a:defRPr sz="1500"/>
            </a:lvl4pPr>
            <a:lvl5pPr>
              <a:defRPr sz="1400"/>
            </a:lvl5pPr>
            <a:lvl6pPr>
              <a:defRPr sz="1200"/>
            </a:lvl6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
        <p:nvSpPr>
          <p:cNvPr id="8" name="Content Placeholder 7"/>
          <p:cNvSpPr>
            <a:spLocks noGrp="1"/>
          </p:cNvSpPr>
          <p:nvPr>
            <p:ph sz="quarter" idx="14"/>
          </p:nvPr>
        </p:nvSpPr>
        <p:spPr>
          <a:xfrm>
            <a:off x="6201808" y="1381539"/>
            <a:ext cx="5760000" cy="4412512"/>
          </a:xfrm>
          <a:prstGeom prst="rect">
            <a:avLst/>
          </a:prstGeom>
        </p:spPr>
        <p:txBody>
          <a:bodyPr/>
          <a:lstStyle>
            <a:lvl1pPr>
              <a:defRPr sz="2000"/>
            </a:lvl1pPr>
            <a:lvl2pPr>
              <a:defRPr sz="1800"/>
            </a:lvl2pPr>
            <a:lvl3pPr>
              <a:defRPr sz="1600"/>
            </a:lvl3pPr>
            <a:lvl4pPr>
              <a:defRPr sz="1500"/>
            </a:lvl4pPr>
            <a:lvl5pPr>
              <a:defRPr sz="1400"/>
            </a:lvl5pPr>
            <a:lvl6pPr>
              <a:defRPr sz="1200"/>
            </a:lvl6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
        <p:nvSpPr>
          <p:cNvPr id="3" name="Title 2">
            <a:extLst>
              <a:ext uri="{FF2B5EF4-FFF2-40B4-BE49-F238E27FC236}">
                <a16:creationId xmlns:a16="http://schemas.microsoft.com/office/drawing/2014/main" id="{4957650B-D516-4229-B6A7-7513ECDD7B8A}"/>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455595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with large image">
    <p:spTree>
      <p:nvGrpSpPr>
        <p:cNvPr id="1" name=""/>
        <p:cNvGrpSpPr/>
        <p:nvPr/>
      </p:nvGrpSpPr>
      <p:grpSpPr>
        <a:xfrm>
          <a:off x="0" y="0"/>
          <a:ext cx="0" cy="0"/>
          <a:chOff x="0" y="0"/>
          <a:chExt cx="0" cy="0"/>
        </a:xfrm>
      </p:grpSpPr>
      <p:sp>
        <p:nvSpPr>
          <p:cNvPr id="4" name="Picture Placeholder 3"/>
          <p:cNvSpPr>
            <a:spLocks noGrp="1"/>
          </p:cNvSpPr>
          <p:nvPr>
            <p:ph type="pic" sz="quarter" idx="15"/>
          </p:nvPr>
        </p:nvSpPr>
        <p:spPr>
          <a:xfrm>
            <a:off x="6184948" y="1371600"/>
            <a:ext cx="5760000" cy="4413250"/>
          </a:xfrm>
          <a:prstGeom prst="rect">
            <a:avLst/>
          </a:prstGeom>
          <a:solidFill>
            <a:srgbClr val="E7E6E6"/>
          </a:solidFill>
        </p:spPr>
        <p:txBody>
          <a:bodyPr/>
          <a:lstStyle>
            <a:lvl1pPr marL="0" indent="0">
              <a:buNone/>
              <a:defRPr/>
            </a:lvl1pPr>
          </a:lstStyle>
          <a:p>
            <a:r>
              <a:rPr lang="ja-JP" altLang="en-US"/>
              <a:t>アイコンをクリックして図を追加</a:t>
            </a:r>
            <a:endParaRPr lang="en-US" dirty="0"/>
          </a:p>
        </p:txBody>
      </p:sp>
      <p:sp>
        <p:nvSpPr>
          <p:cNvPr id="6" name="Slide Number Placeholder 5"/>
          <p:cNvSpPr>
            <a:spLocks noGrp="1"/>
          </p:cNvSpPr>
          <p:nvPr>
            <p:ph type="sldNum" sz="quarter" idx="12"/>
          </p:nvPr>
        </p:nvSpPr>
        <p:spPr>
          <a:xfrm>
            <a:off x="11278200" y="451455"/>
            <a:ext cx="685800" cy="685802"/>
          </a:xfrm>
          <a:prstGeom prst="rect">
            <a:avLst/>
          </a:prstGeom>
        </p:spPr>
        <p:txBody>
          <a:bodyPr/>
          <a:lstStyle/>
          <a:p>
            <a:fld id="{69AE0398-C5D1-4C23-8BB8-6DF786637BD0}" type="slidenum">
              <a:rPr lang="en-US" smtClean="0"/>
              <a:t>‹#›</a:t>
            </a:fld>
            <a:endParaRPr lang="en-US" dirty="0"/>
          </a:p>
        </p:txBody>
      </p:sp>
      <p:sp>
        <p:nvSpPr>
          <p:cNvPr id="8" name="Content Placeholder 7"/>
          <p:cNvSpPr>
            <a:spLocks noGrp="1"/>
          </p:cNvSpPr>
          <p:nvPr>
            <p:ph sz="quarter" idx="14"/>
          </p:nvPr>
        </p:nvSpPr>
        <p:spPr>
          <a:xfrm>
            <a:off x="258417" y="1371600"/>
            <a:ext cx="5760000" cy="4412512"/>
          </a:xfrm>
          <a:prstGeom prst="rect">
            <a:avLst/>
          </a:prstGeom>
        </p:spPr>
        <p:txBody>
          <a:bodyPr/>
          <a:lstStyle>
            <a:lvl1pPr>
              <a:defRPr sz="2000"/>
            </a:lvl1pPr>
            <a:lvl2pPr>
              <a:defRPr sz="1800"/>
            </a:lvl2pPr>
            <a:lvl3pPr>
              <a:defRPr sz="1600"/>
            </a:lvl3pPr>
            <a:lvl4pPr>
              <a:defRPr sz="1500"/>
            </a:lvl4pPr>
            <a:lvl5pPr>
              <a:defRPr sz="1400"/>
            </a:lvl5pPr>
            <a:lvl6pPr>
              <a:defRPr sz="1200"/>
            </a:lvl6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
        <p:nvSpPr>
          <p:cNvPr id="3" name="Title 2">
            <a:extLst>
              <a:ext uri="{FF2B5EF4-FFF2-40B4-BE49-F238E27FC236}">
                <a16:creationId xmlns:a16="http://schemas.microsoft.com/office/drawing/2014/main" id="{B64767F2-E7B2-469E-B157-F29CB13B2732}"/>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173915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with three colum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278200" y="451455"/>
            <a:ext cx="685800" cy="685802"/>
          </a:xfrm>
          <a:prstGeom prst="rect">
            <a:avLst/>
          </a:prstGeom>
        </p:spPr>
        <p:txBody>
          <a:bodyPr/>
          <a:lstStyle/>
          <a:p>
            <a:fld id="{69AE0398-C5D1-4C23-8BB8-6DF786637BD0}" type="slidenum">
              <a:rPr lang="en-US" smtClean="0"/>
              <a:t>‹#›</a:t>
            </a:fld>
            <a:endParaRPr lang="en-US" dirty="0"/>
          </a:p>
        </p:txBody>
      </p:sp>
      <p:sp>
        <p:nvSpPr>
          <p:cNvPr id="9" name="Content Placeholder 2"/>
          <p:cNvSpPr>
            <a:spLocks noGrp="1"/>
          </p:cNvSpPr>
          <p:nvPr>
            <p:ph idx="13"/>
          </p:nvPr>
        </p:nvSpPr>
        <p:spPr>
          <a:xfrm>
            <a:off x="263211" y="1381539"/>
            <a:ext cx="3600000" cy="4412512"/>
          </a:xfrm>
          <a:prstGeom prst="rect">
            <a:avLst/>
          </a:prstGeom>
        </p:spPr>
        <p:txBody>
          <a:bodyPr>
            <a:normAutofit/>
          </a:bodyPr>
          <a:lstStyle>
            <a:lvl1pPr marL="342900" indent="-342900" algn="l" defTabSz="914400" rtl="0" eaLnBrk="1" latinLnBrk="0" hangingPunct="1">
              <a:lnSpc>
                <a:spcPct val="100000"/>
              </a:lnSpc>
              <a:spcBef>
                <a:spcPts val="600"/>
              </a:spcBef>
              <a:buFont typeface="Arial" panose="020B0604020202020204" pitchFamily="34" charset="0"/>
              <a:buChar char="•"/>
              <a:tabLst/>
              <a:defRPr lang="en-US" sz="2000" b="0" kern="1200" dirty="0" smtClean="0">
                <a:solidFill>
                  <a:schemeClr val="tx2"/>
                </a:solidFill>
                <a:latin typeface="Arial" panose="020B0604020202020204" pitchFamily="34" charset="0"/>
                <a:ea typeface="+mn-ea"/>
                <a:cs typeface="Arial" panose="020B0604020202020204" pitchFamily="34" charset="0"/>
              </a:defRPr>
            </a:lvl1pPr>
            <a:lvl2pPr>
              <a:lnSpc>
                <a:spcPct val="100000"/>
              </a:lnSpc>
              <a:spcBef>
                <a:spcPts val="600"/>
              </a:spcBef>
              <a:defRPr sz="1800" b="0">
                <a:latin typeface="Arial" panose="020B0604020202020204" pitchFamily="34" charset="0"/>
              </a:defRPr>
            </a:lvl2pPr>
            <a:lvl3pPr>
              <a:lnSpc>
                <a:spcPct val="100000"/>
              </a:lnSpc>
              <a:spcBef>
                <a:spcPts val="600"/>
              </a:spcBef>
              <a:defRPr lang="en-US" sz="1600" b="0" kern="1200" spc="-30" dirty="0">
                <a:solidFill>
                  <a:schemeClr val="tx2"/>
                </a:solidFill>
                <a:latin typeface="Arial" panose="020B0604020202020204" pitchFamily="34" charset="0"/>
                <a:ea typeface="+mn-ea"/>
                <a:cs typeface="Arial"/>
              </a:defRPr>
            </a:lvl3pPr>
            <a:lvl4pPr>
              <a:lnSpc>
                <a:spcPct val="100000"/>
              </a:lnSpc>
              <a:spcBef>
                <a:spcPts val="600"/>
              </a:spcBef>
              <a:defRPr sz="1500" b="0">
                <a:latin typeface="Arial" panose="020B0604020202020204" pitchFamily="34" charset="0"/>
              </a:defRPr>
            </a:lvl4pPr>
            <a:lvl5pPr>
              <a:defRPr sz="1400" b="0"/>
            </a:lvl5pPr>
            <a:lvl6pPr>
              <a:defRPr sz="1200"/>
            </a:lvl6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
        <p:nvSpPr>
          <p:cNvPr id="10" name="Content Placeholder 2"/>
          <p:cNvSpPr>
            <a:spLocks noGrp="1"/>
          </p:cNvSpPr>
          <p:nvPr>
            <p:ph idx="14"/>
          </p:nvPr>
        </p:nvSpPr>
        <p:spPr>
          <a:xfrm>
            <a:off x="4301872" y="1381539"/>
            <a:ext cx="3600000" cy="4412512"/>
          </a:xfrm>
          <a:prstGeom prst="rect">
            <a:avLst/>
          </a:prstGeom>
        </p:spPr>
        <p:txBody>
          <a:bodyPr>
            <a:normAutofit/>
          </a:bodyPr>
          <a:lstStyle>
            <a:lvl1pPr marL="342900" indent="-342900" algn="l" defTabSz="914400" rtl="0" eaLnBrk="1" latinLnBrk="0" hangingPunct="1">
              <a:lnSpc>
                <a:spcPct val="100000"/>
              </a:lnSpc>
              <a:spcBef>
                <a:spcPts val="600"/>
              </a:spcBef>
              <a:buFont typeface="Arial" panose="020B0604020202020204" pitchFamily="34" charset="0"/>
              <a:buChar char="•"/>
              <a:defRPr lang="en-US" sz="2000" b="0" kern="1200" dirty="0" smtClean="0">
                <a:solidFill>
                  <a:schemeClr val="tx2"/>
                </a:solidFill>
                <a:latin typeface="Arial" panose="020B0604020202020204" pitchFamily="34" charset="0"/>
                <a:ea typeface="+mn-ea"/>
                <a:cs typeface="Arial" panose="020B0604020202020204" pitchFamily="34" charset="0"/>
              </a:defRPr>
            </a:lvl1pPr>
            <a:lvl2pPr>
              <a:lnSpc>
                <a:spcPct val="100000"/>
              </a:lnSpc>
              <a:spcBef>
                <a:spcPts val="600"/>
              </a:spcBef>
              <a:defRPr sz="1800" b="0">
                <a:latin typeface="Arial" panose="020B0604020202020204" pitchFamily="34" charset="0"/>
              </a:defRPr>
            </a:lvl2pPr>
            <a:lvl3pPr>
              <a:lnSpc>
                <a:spcPct val="100000"/>
              </a:lnSpc>
              <a:spcBef>
                <a:spcPts val="600"/>
              </a:spcBef>
              <a:defRPr lang="en-US" sz="1600" b="0" kern="1200" spc="-30" dirty="0">
                <a:solidFill>
                  <a:schemeClr val="tx2"/>
                </a:solidFill>
                <a:latin typeface="Arial" panose="020B0604020202020204" pitchFamily="34" charset="0"/>
                <a:ea typeface="+mn-ea"/>
                <a:cs typeface="Arial"/>
              </a:defRPr>
            </a:lvl3pPr>
            <a:lvl4pPr>
              <a:lnSpc>
                <a:spcPct val="100000"/>
              </a:lnSpc>
              <a:spcBef>
                <a:spcPts val="600"/>
              </a:spcBef>
              <a:defRPr sz="1500" b="0">
                <a:latin typeface="Arial" panose="020B0604020202020204" pitchFamily="34" charset="0"/>
              </a:defRPr>
            </a:lvl4pPr>
            <a:lvl5pPr>
              <a:defRPr sz="1400" b="0"/>
            </a:lvl5pPr>
            <a:lvl6pPr>
              <a:defRPr sz="1200"/>
            </a:lvl6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
        <p:nvSpPr>
          <p:cNvPr id="7" name="Content Placeholder 2">
            <a:extLst>
              <a:ext uri="{FF2B5EF4-FFF2-40B4-BE49-F238E27FC236}">
                <a16:creationId xmlns:a16="http://schemas.microsoft.com/office/drawing/2014/main" id="{4E6A8181-72D0-456E-AEC7-E5F73431DAC2}"/>
              </a:ext>
            </a:extLst>
          </p:cNvPr>
          <p:cNvSpPr>
            <a:spLocks noGrp="1"/>
          </p:cNvSpPr>
          <p:nvPr>
            <p:ph idx="15"/>
          </p:nvPr>
        </p:nvSpPr>
        <p:spPr>
          <a:xfrm>
            <a:off x="8340533" y="1382400"/>
            <a:ext cx="3600000" cy="4412512"/>
          </a:xfrm>
          <a:prstGeom prst="rect">
            <a:avLst/>
          </a:prstGeom>
        </p:spPr>
        <p:txBody>
          <a:bodyPr>
            <a:normAutofit/>
          </a:bodyPr>
          <a:lstStyle>
            <a:lvl1pPr marL="342900" indent="-342900" algn="l" defTabSz="914400" rtl="0" eaLnBrk="1" latinLnBrk="0" hangingPunct="1">
              <a:lnSpc>
                <a:spcPct val="100000"/>
              </a:lnSpc>
              <a:spcBef>
                <a:spcPts val="600"/>
              </a:spcBef>
              <a:buFont typeface="Arial" panose="020B0604020202020204" pitchFamily="34" charset="0"/>
              <a:buChar char="•"/>
              <a:tabLst/>
              <a:defRPr lang="en-US" sz="2000" b="0" kern="1200" dirty="0" smtClean="0">
                <a:solidFill>
                  <a:schemeClr val="tx2"/>
                </a:solidFill>
                <a:latin typeface="Arial" panose="020B0604020202020204" pitchFamily="34" charset="0"/>
                <a:ea typeface="+mn-ea"/>
                <a:cs typeface="Arial" panose="020B0604020202020204" pitchFamily="34" charset="0"/>
              </a:defRPr>
            </a:lvl1pPr>
            <a:lvl2pPr marL="461963" indent="-230188">
              <a:lnSpc>
                <a:spcPct val="100000"/>
              </a:lnSpc>
              <a:spcBef>
                <a:spcPts val="600"/>
              </a:spcBef>
              <a:defRPr kumimoji="1" lang="ja-JP" altLang="en-US" sz="1800" b="0" kern="1200" baseline="0" noProof="0" dirty="0">
                <a:solidFill>
                  <a:srgbClr val="4D4D4F"/>
                </a:solidFill>
                <a:latin typeface="Arial" panose="020B0604020202020204" pitchFamily="34" charset="0"/>
                <a:ea typeface="+mn-ea"/>
                <a:cs typeface="Arial" panose="020B0604020202020204" pitchFamily="34" charset="0"/>
              </a:defRPr>
            </a:lvl2pPr>
            <a:lvl3pPr marL="687388" indent="-230188">
              <a:lnSpc>
                <a:spcPct val="100000"/>
              </a:lnSpc>
              <a:spcBef>
                <a:spcPts val="600"/>
              </a:spcBef>
              <a:defRPr kumimoji="1" lang="ja-JP" altLang="en-US" sz="1600" b="0" kern="1200" spc="-30" noProof="0" dirty="0">
                <a:solidFill>
                  <a:schemeClr val="tx2"/>
                </a:solidFill>
                <a:latin typeface="Arial" panose="020B0604020202020204" pitchFamily="34" charset="0"/>
                <a:ea typeface="+mn-ea"/>
                <a:cs typeface="Arial"/>
              </a:defRPr>
            </a:lvl3pPr>
            <a:lvl4pPr marL="914400" indent="-230188">
              <a:lnSpc>
                <a:spcPct val="100000"/>
              </a:lnSpc>
              <a:spcBef>
                <a:spcPts val="600"/>
              </a:spcBef>
              <a:defRPr kumimoji="1" lang="ja-JP" altLang="en-US" sz="1500" b="0" kern="1200" noProof="0" dirty="0">
                <a:solidFill>
                  <a:schemeClr val="tx2"/>
                </a:solidFill>
                <a:latin typeface="Arial" panose="020B0604020202020204" pitchFamily="34" charset="0"/>
                <a:ea typeface="+mn-ea"/>
                <a:cs typeface="Arial" panose="020B0604020202020204" pitchFamily="34" charset="0"/>
              </a:defRPr>
            </a:lvl4pPr>
            <a:lvl5pPr>
              <a:defRPr sz="1400" b="0"/>
            </a:lvl5pPr>
            <a:lvl6pPr>
              <a:defRPr sz="1200"/>
            </a:lvl6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
        <p:nvSpPr>
          <p:cNvPr id="3" name="Title 2">
            <a:extLst>
              <a:ext uri="{FF2B5EF4-FFF2-40B4-BE49-F238E27FC236}">
                <a16:creationId xmlns:a16="http://schemas.microsoft.com/office/drawing/2014/main" id="{707AD9C4-6315-4F6B-8EDF-58921C76E07C}"/>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1021733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with four colum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278200" y="451455"/>
            <a:ext cx="685800" cy="685802"/>
          </a:xfrm>
          <a:prstGeom prst="rect">
            <a:avLst/>
          </a:prstGeom>
        </p:spPr>
        <p:txBody>
          <a:bodyPr/>
          <a:lstStyle/>
          <a:p>
            <a:fld id="{69AE0398-C5D1-4C23-8BB8-6DF786637BD0}" type="slidenum">
              <a:rPr lang="en-US" smtClean="0"/>
              <a:t>‹#›</a:t>
            </a:fld>
            <a:endParaRPr lang="en-US" dirty="0"/>
          </a:p>
        </p:txBody>
      </p:sp>
      <p:sp>
        <p:nvSpPr>
          <p:cNvPr id="12" name="Content Placeholder 11"/>
          <p:cNvSpPr>
            <a:spLocks noGrp="1"/>
          </p:cNvSpPr>
          <p:nvPr>
            <p:ph sz="quarter" idx="15"/>
          </p:nvPr>
        </p:nvSpPr>
        <p:spPr>
          <a:xfrm>
            <a:off x="232651" y="1382110"/>
            <a:ext cx="2700000" cy="4413250"/>
          </a:xfrm>
          <a:prstGeom prst="rect">
            <a:avLst/>
          </a:prstGeom>
        </p:spPr>
        <p:txBody>
          <a:bodyPr>
            <a:normAutofit/>
          </a:bodyPr>
          <a:lstStyle>
            <a:lvl1pPr>
              <a:defRPr lang="en-US" sz="2000" b="0" kern="1200" dirty="0" smtClean="0">
                <a:solidFill>
                  <a:schemeClr val="tx2"/>
                </a:solidFill>
                <a:latin typeface="Arial" panose="020B0604020202020204" pitchFamily="34" charset="0"/>
                <a:ea typeface="+mn-ea"/>
                <a:cs typeface="Arial" panose="020B0604020202020204" pitchFamily="34" charset="0"/>
              </a:defRPr>
            </a:lvl1pPr>
            <a:lvl2pPr>
              <a:defRPr sz="1800" b="0">
                <a:latin typeface="Arial" panose="020B0604020202020204" pitchFamily="34" charset="0"/>
              </a:defRPr>
            </a:lvl2pPr>
            <a:lvl3pPr>
              <a:defRPr sz="1600" b="0">
                <a:latin typeface="Arial" panose="020B0604020202020204" pitchFamily="34" charset="0"/>
              </a:defRPr>
            </a:lvl3pPr>
            <a:lvl4pPr>
              <a:defRPr sz="1500" b="0">
                <a:latin typeface="Arial" panose="020B0604020202020204" pitchFamily="34" charset="0"/>
              </a:defRPr>
            </a:lvl4pPr>
            <a:lvl5pPr>
              <a:defRPr sz="1400" b="0"/>
            </a:lvl5pPr>
            <a:lvl6pPr>
              <a:defRPr sz="1200"/>
            </a:lvl6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
        <p:nvSpPr>
          <p:cNvPr id="7" name="Content Placeholder 11"/>
          <p:cNvSpPr>
            <a:spLocks noGrp="1"/>
          </p:cNvSpPr>
          <p:nvPr>
            <p:ph sz="quarter" idx="16"/>
          </p:nvPr>
        </p:nvSpPr>
        <p:spPr>
          <a:xfrm>
            <a:off x="3234658" y="1392621"/>
            <a:ext cx="2700000" cy="4413250"/>
          </a:xfrm>
          <a:prstGeom prst="rect">
            <a:avLst/>
          </a:prstGeom>
        </p:spPr>
        <p:txBody>
          <a:bodyPr>
            <a:normAutofit/>
          </a:bodyPr>
          <a:lstStyle>
            <a:lvl1pPr>
              <a:defRPr lang="en-US" sz="2000" b="0" kern="1200" dirty="0" smtClean="0">
                <a:solidFill>
                  <a:schemeClr val="tx2"/>
                </a:solidFill>
                <a:latin typeface="Arial" panose="020B0604020202020204" pitchFamily="34" charset="0"/>
                <a:ea typeface="+mn-ea"/>
                <a:cs typeface="Arial" panose="020B0604020202020204" pitchFamily="34" charset="0"/>
              </a:defRPr>
            </a:lvl1pPr>
            <a:lvl2pPr marL="461963" indent="-230188">
              <a:defRPr kumimoji="1" lang="ja-JP" altLang="en-US" sz="1800" b="0" kern="1200" baseline="0" noProof="0" dirty="0">
                <a:solidFill>
                  <a:srgbClr val="4D4D4F"/>
                </a:solidFill>
                <a:latin typeface="Arial" panose="020B0604020202020204" pitchFamily="34" charset="0"/>
                <a:ea typeface="+mn-ea"/>
                <a:cs typeface="Arial" panose="020B0604020202020204" pitchFamily="34" charset="0"/>
              </a:defRPr>
            </a:lvl2pPr>
            <a:lvl3pPr marL="687388" indent="-230188">
              <a:defRPr kumimoji="1" lang="ja-JP" altLang="en-US" sz="1600" b="0" kern="1200" noProof="0" dirty="0">
                <a:solidFill>
                  <a:schemeClr val="tx2"/>
                </a:solidFill>
                <a:latin typeface="Arial" panose="020B0604020202020204" pitchFamily="34" charset="0"/>
                <a:ea typeface="+mn-ea"/>
                <a:cs typeface="Arial" panose="020B0604020202020204" pitchFamily="34" charset="0"/>
              </a:defRPr>
            </a:lvl3pPr>
            <a:lvl4pPr marL="914400" indent="-230188">
              <a:defRPr kumimoji="1" lang="ja-JP" altLang="en-US" sz="1500" b="0" kern="1200" noProof="0" dirty="0">
                <a:solidFill>
                  <a:schemeClr val="tx2"/>
                </a:solidFill>
                <a:latin typeface="Arial" panose="020B0604020202020204" pitchFamily="34" charset="0"/>
                <a:ea typeface="+mn-ea"/>
                <a:cs typeface="Arial" panose="020B0604020202020204" pitchFamily="34" charset="0"/>
              </a:defRPr>
            </a:lvl4pPr>
            <a:lvl5pPr>
              <a:defRPr sz="1400" b="0"/>
            </a:lvl5pPr>
            <a:lvl6pPr>
              <a:defRPr sz="1200"/>
            </a:lvl6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
        <p:nvSpPr>
          <p:cNvPr id="8" name="Content Placeholder 11"/>
          <p:cNvSpPr>
            <a:spLocks noGrp="1"/>
          </p:cNvSpPr>
          <p:nvPr>
            <p:ph sz="quarter" idx="17"/>
          </p:nvPr>
        </p:nvSpPr>
        <p:spPr>
          <a:xfrm>
            <a:off x="6236665" y="1371600"/>
            <a:ext cx="2700000" cy="4413250"/>
          </a:xfrm>
          <a:prstGeom prst="rect">
            <a:avLst/>
          </a:prstGeom>
        </p:spPr>
        <p:txBody>
          <a:bodyPr>
            <a:normAutofit/>
          </a:bodyPr>
          <a:lstStyle>
            <a:lvl1pPr>
              <a:defRPr lang="en-US" sz="2000" b="0" kern="1200" dirty="0" smtClean="0">
                <a:solidFill>
                  <a:schemeClr val="tx2"/>
                </a:solidFill>
                <a:latin typeface="Arial" panose="020B0604020202020204" pitchFamily="34" charset="0"/>
                <a:ea typeface="+mn-ea"/>
                <a:cs typeface="Arial" panose="020B0604020202020204" pitchFamily="34" charset="0"/>
              </a:defRPr>
            </a:lvl1pPr>
            <a:lvl2pPr marL="461963" indent="-230188">
              <a:defRPr kumimoji="1" lang="ja-JP" altLang="en-US" sz="1800" b="0" i="0" u="none" strike="noStrike" kern="1200" cap="none" spc="0" normalizeH="0" baseline="0" noProof="0" dirty="0">
                <a:ln>
                  <a:noFill/>
                </a:ln>
                <a:solidFill>
                  <a:srgbClr val="4D4D4F"/>
                </a:solidFill>
                <a:effectLst/>
                <a:uLnTx/>
                <a:uFillTx/>
                <a:latin typeface="Arial" panose="020B0604020202020204" pitchFamily="34" charset="0"/>
                <a:ea typeface="BIZ UDPゴシック"/>
                <a:cs typeface="Arial" panose="020B0604020202020204" pitchFamily="34" charset="0"/>
              </a:defRPr>
            </a:lvl2pPr>
            <a:lvl3pPr marL="687388" indent="-230188">
              <a:defRPr kumimoji="1" lang="ja-JP" altLang="en-US" sz="1600" b="0" i="0" u="none" strike="noStrike" kern="1200" cap="none" spc="0" normalizeH="0" baseline="0" noProof="0" dirty="0">
                <a:ln>
                  <a:noFill/>
                </a:ln>
                <a:solidFill>
                  <a:srgbClr val="4D4D4F"/>
                </a:solidFill>
                <a:effectLst/>
                <a:uLnTx/>
                <a:uFillTx/>
                <a:latin typeface="Arial" panose="020B0604020202020204" pitchFamily="34" charset="0"/>
                <a:ea typeface="BIZ UDPゴシック"/>
                <a:cs typeface="Arial" panose="020B0604020202020204" pitchFamily="34" charset="0"/>
              </a:defRPr>
            </a:lvl3pPr>
            <a:lvl4pPr marL="914400" indent="-230188">
              <a:defRPr kumimoji="1" lang="ja-JP" altLang="en-US" sz="1500" b="0" i="0" u="none" strike="noStrike" kern="1200" cap="none" spc="0" normalizeH="0" baseline="0" noProof="0" dirty="0">
                <a:ln>
                  <a:noFill/>
                </a:ln>
                <a:solidFill>
                  <a:srgbClr val="4D4D4F"/>
                </a:solidFill>
                <a:effectLst/>
                <a:uLnTx/>
                <a:uFillTx/>
                <a:latin typeface="Arial" panose="020B0604020202020204" pitchFamily="34" charset="0"/>
                <a:ea typeface="BIZ UDPゴシック"/>
                <a:cs typeface="Arial" panose="020B0604020202020204" pitchFamily="34" charset="0"/>
              </a:defRPr>
            </a:lvl4pPr>
            <a:lvl5pPr>
              <a:defRPr sz="1400" b="0"/>
            </a:lvl5pPr>
            <a:lvl6pPr>
              <a:defRPr sz="1200"/>
            </a:lvl6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
        <p:nvSpPr>
          <p:cNvPr id="11" name="Content Placeholder 11"/>
          <p:cNvSpPr>
            <a:spLocks noGrp="1"/>
          </p:cNvSpPr>
          <p:nvPr>
            <p:ph sz="quarter" idx="18"/>
          </p:nvPr>
        </p:nvSpPr>
        <p:spPr>
          <a:xfrm>
            <a:off x="9238672" y="1371600"/>
            <a:ext cx="2700000" cy="4413250"/>
          </a:xfrm>
          <a:prstGeom prst="rect">
            <a:avLst/>
          </a:prstGeom>
        </p:spPr>
        <p:txBody>
          <a:bodyPr>
            <a:normAutofit/>
          </a:bodyPr>
          <a:lstStyle>
            <a:lvl1pPr>
              <a:defRPr lang="en-US" sz="2000" b="0" kern="1200" dirty="0" smtClean="0">
                <a:solidFill>
                  <a:schemeClr val="tx2"/>
                </a:solidFill>
                <a:latin typeface="Arial" panose="020B0604020202020204" pitchFamily="34" charset="0"/>
                <a:ea typeface="+mn-ea"/>
                <a:cs typeface="Arial" panose="020B0604020202020204" pitchFamily="34" charset="0"/>
              </a:defRPr>
            </a:lvl1pPr>
            <a:lvl2pPr marL="461963" indent="-230188">
              <a:defRPr kumimoji="1" lang="ja-JP" altLang="en-US" sz="1800" b="0" i="0" u="none" strike="noStrike" kern="1200" cap="none" spc="0" normalizeH="0" baseline="0" noProof="0" dirty="0">
                <a:ln>
                  <a:noFill/>
                </a:ln>
                <a:solidFill>
                  <a:srgbClr val="4D4D4F"/>
                </a:solidFill>
                <a:effectLst/>
                <a:uLnTx/>
                <a:uFillTx/>
                <a:latin typeface="Arial" panose="020B0604020202020204" pitchFamily="34" charset="0"/>
                <a:ea typeface="BIZ UDPゴシック"/>
                <a:cs typeface="Arial" panose="020B0604020202020204" pitchFamily="34" charset="0"/>
              </a:defRPr>
            </a:lvl2pPr>
            <a:lvl3pPr marL="687388" indent="-230188">
              <a:defRPr kumimoji="1" lang="ja-JP" altLang="en-US" sz="1600" b="0" i="0" u="none" strike="noStrike" kern="1200" cap="none" spc="0" normalizeH="0" baseline="0" noProof="0" dirty="0">
                <a:ln>
                  <a:noFill/>
                </a:ln>
                <a:solidFill>
                  <a:srgbClr val="4D4D4F"/>
                </a:solidFill>
                <a:effectLst/>
                <a:uLnTx/>
                <a:uFillTx/>
                <a:latin typeface="Arial" panose="020B0604020202020204" pitchFamily="34" charset="0"/>
                <a:ea typeface="BIZ UDPゴシック"/>
                <a:cs typeface="Arial" panose="020B0604020202020204" pitchFamily="34" charset="0"/>
              </a:defRPr>
            </a:lvl3pPr>
            <a:lvl4pPr marL="914400" indent="-230188">
              <a:defRPr kumimoji="1" lang="ja-JP" altLang="en-US" sz="1500" b="0" i="0" u="none" strike="noStrike" kern="1200" cap="none" spc="0" normalizeH="0" baseline="0" noProof="0" dirty="0">
                <a:ln>
                  <a:noFill/>
                </a:ln>
                <a:solidFill>
                  <a:srgbClr val="4D4D4F"/>
                </a:solidFill>
                <a:effectLst/>
                <a:uLnTx/>
                <a:uFillTx/>
                <a:latin typeface="Arial" panose="020B0604020202020204" pitchFamily="34" charset="0"/>
                <a:ea typeface="BIZ UDPゴシック"/>
                <a:cs typeface="Arial" panose="020B0604020202020204" pitchFamily="34" charset="0"/>
              </a:defRPr>
            </a:lvl4pPr>
            <a:lvl5pPr>
              <a:defRPr sz="1400" b="0"/>
            </a:lvl5pPr>
            <a:lvl6pPr>
              <a:defRPr sz="1200"/>
            </a:lvl6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
        <p:nvSpPr>
          <p:cNvPr id="3" name="Title 2">
            <a:extLst>
              <a:ext uri="{FF2B5EF4-FFF2-40B4-BE49-F238E27FC236}">
                <a16:creationId xmlns:a16="http://schemas.microsoft.com/office/drawing/2014/main" id="{9D6F9013-F7D1-432A-871B-2ECED646DCC2}"/>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717457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with bio">
    <p:spTree>
      <p:nvGrpSpPr>
        <p:cNvPr id="1" name=""/>
        <p:cNvGrpSpPr/>
        <p:nvPr/>
      </p:nvGrpSpPr>
      <p:grpSpPr>
        <a:xfrm>
          <a:off x="0" y="0"/>
          <a:ext cx="0" cy="0"/>
          <a:chOff x="0" y="0"/>
          <a:chExt cx="0" cy="0"/>
        </a:xfrm>
      </p:grpSpPr>
      <p:sp>
        <p:nvSpPr>
          <p:cNvPr id="3" name="Content Placeholder 2"/>
          <p:cNvSpPr>
            <a:spLocks noGrp="1"/>
          </p:cNvSpPr>
          <p:nvPr>
            <p:ph idx="1"/>
          </p:nvPr>
        </p:nvSpPr>
        <p:spPr>
          <a:xfrm>
            <a:off x="2098632" y="1371600"/>
            <a:ext cx="9838264" cy="4675973"/>
          </a:xfrm>
          <a:prstGeom prst="rect">
            <a:avLst/>
          </a:prstGeom>
        </p:spPr>
        <p:txBody>
          <a:bodyPr/>
          <a:lstStyle>
            <a:lvl1pPr>
              <a:defRPr sz="2000"/>
            </a:lvl1pPr>
            <a:lvl2pPr marL="461963" indent="-230188">
              <a:defRPr kumimoji="1" lang="ja-JP" altLang="en-US" sz="1800" b="0" kern="1200" baseline="0" noProof="0" dirty="0">
                <a:solidFill>
                  <a:srgbClr val="4D4D4F"/>
                </a:solidFill>
                <a:latin typeface="+mj-lt"/>
                <a:ea typeface="+mn-ea"/>
                <a:cs typeface="Arial" panose="020B0604020202020204" pitchFamily="34" charset="0"/>
              </a:defRPr>
            </a:lvl2pPr>
            <a:lvl3pPr marL="687388" indent="-230188">
              <a:defRPr kumimoji="1" lang="ja-JP" altLang="en-US" sz="1600" b="0" kern="1200" noProof="0" dirty="0">
                <a:solidFill>
                  <a:schemeClr val="tx2"/>
                </a:solidFill>
                <a:latin typeface="+mj-lt"/>
                <a:ea typeface="+mn-ea"/>
                <a:cs typeface="Arial" panose="020B0604020202020204" pitchFamily="34" charset="0"/>
              </a:defRPr>
            </a:lvl3pPr>
            <a:lvl4pPr marL="914400" indent="-230188">
              <a:defRPr kumimoji="1" lang="ja-JP" altLang="en-US" sz="1500" b="0" kern="1200" noProof="0" dirty="0">
                <a:solidFill>
                  <a:schemeClr val="tx2"/>
                </a:solidFill>
                <a:latin typeface="+mj-lt"/>
                <a:ea typeface="+mn-ea"/>
                <a:cs typeface="Arial" panose="020B0604020202020204" pitchFamily="34" charset="0"/>
              </a:defRPr>
            </a:lvl4pPr>
            <a:lvl5pPr>
              <a:defRPr sz="1400"/>
            </a:lvl5pPr>
            <a:lvl6pPr>
              <a:defRPr sz="1800"/>
            </a:lvl6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
        <p:nvSpPr>
          <p:cNvPr id="6" name="Slide Number Placeholder 5"/>
          <p:cNvSpPr>
            <a:spLocks noGrp="1"/>
          </p:cNvSpPr>
          <p:nvPr>
            <p:ph type="sldNum" sz="quarter" idx="12"/>
          </p:nvPr>
        </p:nvSpPr>
        <p:spPr>
          <a:xfrm>
            <a:off x="11278200" y="451455"/>
            <a:ext cx="685800" cy="685802"/>
          </a:xfrm>
          <a:prstGeom prst="rect">
            <a:avLst/>
          </a:prstGeom>
        </p:spPr>
        <p:txBody>
          <a:bodyPr/>
          <a:lstStyle/>
          <a:p>
            <a:fld id="{69AE0398-C5D1-4C23-8BB8-6DF786637BD0}" type="slidenum">
              <a:rPr lang="en-US" smtClean="0"/>
              <a:t>‹#›</a:t>
            </a:fld>
            <a:endParaRPr lang="en-US" dirty="0"/>
          </a:p>
        </p:txBody>
      </p:sp>
      <p:sp>
        <p:nvSpPr>
          <p:cNvPr id="5" name="Picture Placeholder 4"/>
          <p:cNvSpPr>
            <a:spLocks noGrp="1"/>
          </p:cNvSpPr>
          <p:nvPr>
            <p:ph type="pic" sz="quarter" idx="13" hasCustomPrompt="1"/>
          </p:nvPr>
        </p:nvSpPr>
        <p:spPr>
          <a:xfrm>
            <a:off x="299563" y="1390327"/>
            <a:ext cx="1435395" cy="1669164"/>
          </a:xfrm>
          <a:prstGeom prst="rect">
            <a:avLst/>
          </a:prstGeom>
          <a:solidFill>
            <a:srgbClr val="E7E6E6"/>
          </a:solidFill>
        </p:spPr>
        <p:txBody>
          <a:bodyPr wrap="none">
            <a:normAutofit/>
          </a:bodyPr>
          <a:lstStyle>
            <a:lvl1pPr>
              <a:defRPr sz="1050"/>
            </a:lvl1pPr>
          </a:lstStyle>
          <a:p>
            <a:r>
              <a:rPr lang="en-US" dirty="0"/>
              <a:t>Click to add image</a:t>
            </a:r>
          </a:p>
        </p:txBody>
      </p:sp>
      <p:sp>
        <p:nvSpPr>
          <p:cNvPr id="4" name="Title 3">
            <a:extLst>
              <a:ext uri="{FF2B5EF4-FFF2-40B4-BE49-F238E27FC236}">
                <a16:creationId xmlns:a16="http://schemas.microsoft.com/office/drawing/2014/main" id="{71888147-4717-4FC4-B543-C95AF75933B9}"/>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220720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49893FC-E937-482C-9559-DDB451F3DC7C}"/>
              </a:ext>
            </a:extLst>
          </p:cNvPr>
          <p:cNvGraphicFramePr>
            <a:graphicFrameLocks noChangeAspect="1"/>
          </p:cNvGraphicFramePr>
          <p:nvPr userDrawn="1">
            <p:custDataLst>
              <p:tags r:id="rId13"/>
            </p:custDataLst>
            <p:extLst>
              <p:ext uri="{D42A27DB-BD31-4B8C-83A1-F6EECF244321}">
                <p14:modId xmlns:p14="http://schemas.microsoft.com/office/powerpoint/2010/main" val="905590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98" imgH="499" progId="TCLayout.ActiveDocument.1">
                  <p:embed/>
                </p:oleObj>
              </mc:Choice>
              <mc:Fallback>
                <p:oleObj name="think-cell Slide" r:id="rId14" imgW="498" imgH="499" progId="TCLayout.ActiveDocument.1">
                  <p:embed/>
                  <p:pic>
                    <p:nvPicPr>
                      <p:cNvPr id="3" name="think-cell data - do not delete" hidden="1">
                        <a:extLst>
                          <a:ext uri="{FF2B5EF4-FFF2-40B4-BE49-F238E27FC236}">
                            <a16:creationId xmlns:a16="http://schemas.microsoft.com/office/drawing/2014/main" id="{A49893FC-E937-482C-9559-DDB451F3DC7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369408" y="451457"/>
            <a:ext cx="10908792" cy="685800"/>
          </a:xfrm>
          <a:prstGeom prst="rect">
            <a:avLst/>
          </a:prstGeom>
        </p:spPr>
        <p:txBody>
          <a:bodyPr vert="horz" lIns="91440" tIns="45720" rIns="91440" bIns="45720" rtlCol="0" anchor="ctr">
            <a:noAutofit/>
          </a:bodyPr>
          <a:lstStyle/>
          <a:p>
            <a:r>
              <a:rPr lang="ja-JP" altLang="en-US" dirty="0"/>
              <a:t>マスター タイトルの書式設定</a:t>
            </a:r>
            <a:endParaRPr lang="en-US" dirty="0"/>
          </a:p>
        </p:txBody>
      </p:sp>
      <p:sp>
        <p:nvSpPr>
          <p:cNvPr id="9" name="テキスト プレースホルダー 2">
            <a:extLst>
              <a:ext uri="{FF2B5EF4-FFF2-40B4-BE49-F238E27FC236}">
                <a16:creationId xmlns:a16="http://schemas.microsoft.com/office/drawing/2014/main" id="{BEB4865A-950F-4933-8094-59CA9B942B4C}"/>
              </a:ext>
            </a:extLst>
          </p:cNvPr>
          <p:cNvSpPr>
            <a:spLocks noGrp="1"/>
          </p:cNvSpPr>
          <p:nvPr>
            <p:ph type="body" idx="1"/>
          </p:nvPr>
        </p:nvSpPr>
        <p:spPr>
          <a:xfrm>
            <a:off x="228600" y="1331843"/>
            <a:ext cx="11736313" cy="4754092"/>
          </a:xfrm>
          <a:prstGeom prst="rect">
            <a:avLst/>
          </a:prstGeom>
        </p:spPr>
        <p:txBody>
          <a:bodyPr vert="horz" lIns="91440" tIns="45720" rIns="91440" bIns="45720" rtlCol="0">
            <a:norm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2 </a:t>
            </a:r>
            <a:r>
              <a:rPr kumimoji="1" lang="ja-JP" altLang="en-US" dirty="0"/>
              <a:t>レベル</a:t>
            </a:r>
            <a:endParaRPr kumimoji="1" lang="en-US" altLang="ja-JP" dirty="0"/>
          </a:p>
          <a:p>
            <a:pPr lvl="2"/>
            <a:r>
              <a:rPr kumimoji="1" lang="ja-JP" altLang="en-US" dirty="0"/>
              <a:t>第 </a:t>
            </a:r>
            <a:r>
              <a:rPr kumimoji="1" lang="en-US" altLang="ja-JP" dirty="0"/>
              <a:t>3 </a:t>
            </a:r>
            <a:r>
              <a:rPr kumimoji="1" lang="ja-JP" altLang="en-US" dirty="0"/>
              <a:t>レベル</a:t>
            </a:r>
            <a:endParaRPr kumimoji="1" lang="en-US" altLang="ja-JP" dirty="0"/>
          </a:p>
          <a:p>
            <a:pPr lvl="3"/>
            <a:r>
              <a:rPr kumimoji="1" lang="ja-JP" altLang="en-US" dirty="0"/>
              <a:t>第 </a:t>
            </a:r>
            <a:r>
              <a:rPr kumimoji="1" lang="en-US" altLang="ja-JP" dirty="0"/>
              <a:t>4 </a:t>
            </a:r>
            <a:r>
              <a:rPr kumimoji="1" lang="ja-JP" altLang="en-US" dirty="0"/>
              <a:t>レベル</a:t>
            </a:r>
            <a:endParaRPr kumimoji="1" lang="en-US" altLang="ja-JP" dirty="0"/>
          </a:p>
          <a:p>
            <a:pPr lvl="3"/>
            <a:endParaRPr kumimoji="1" lang="en-US" altLang="ja-JP" dirty="0"/>
          </a:p>
          <a:p>
            <a:pPr lvl="4"/>
            <a:endParaRPr kumimoji="1" lang="ja-JP" altLang="en-US" dirty="0"/>
          </a:p>
        </p:txBody>
      </p:sp>
    </p:spTree>
    <p:extLst>
      <p:ext uri="{BB962C8B-B14F-4D97-AF65-F5344CB8AC3E}">
        <p14:creationId xmlns:p14="http://schemas.microsoft.com/office/powerpoint/2010/main" val="2636323658"/>
      </p:ext>
    </p:extLst>
  </p:cSld>
  <p:clrMap bg1="lt1" tx1="dk1" bg2="lt2" tx2="dk2" accent1="accent1" accent2="accent2" accent3="accent3" accent4="accent4" accent5="accent5" accent6="accent6" hlink="hlink" folHlink="folHlink"/>
  <p:sldLayoutIdLst>
    <p:sldLayoutId id="2147483864" r:id="rId1"/>
    <p:sldLayoutId id="2147483862" r:id="rId2"/>
    <p:sldLayoutId id="2147483847" r:id="rId3"/>
    <p:sldLayoutId id="2147483858" r:id="rId4"/>
    <p:sldLayoutId id="2147483848" r:id="rId5"/>
    <p:sldLayoutId id="2147483855" r:id="rId6"/>
    <p:sldLayoutId id="2147483849" r:id="rId7"/>
    <p:sldLayoutId id="2147483854" r:id="rId8"/>
    <p:sldLayoutId id="2147483850" r:id="rId9"/>
    <p:sldLayoutId id="2147483856" r:id="rId10"/>
    <p:sldLayoutId id="214748385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100000"/>
        </a:lnSpc>
        <a:spcBef>
          <a:spcPts val="0"/>
        </a:spcBef>
        <a:buNone/>
        <a:defRPr kumimoji="1" sz="2800" b="1" kern="1200" cap="none" baseline="0">
          <a:solidFill>
            <a:schemeClr val="tx2"/>
          </a:solidFill>
          <a:latin typeface="+mj-lt"/>
          <a:ea typeface="+mj-ea"/>
          <a:cs typeface="Arial" panose="020B0604020202020204" pitchFamily="34" charset="0"/>
        </a:defRPr>
      </a:lvl1pPr>
    </p:titleStyle>
    <p:bodyStyle>
      <a:lvl1pPr marL="342900" indent="-342900" algn="l" defTabSz="914400" rtl="0" eaLnBrk="1" latinLnBrk="0" hangingPunct="1">
        <a:lnSpc>
          <a:spcPct val="100000"/>
        </a:lnSpc>
        <a:spcBef>
          <a:spcPts val="600"/>
        </a:spcBef>
        <a:buFont typeface="Arial" panose="020B0604020202020204" pitchFamily="34" charset="0"/>
        <a:buChar char="•"/>
        <a:defRPr kumimoji="1" sz="2000" b="0" kern="1200">
          <a:solidFill>
            <a:schemeClr val="tx2"/>
          </a:solidFill>
          <a:latin typeface="+mn-lt"/>
          <a:ea typeface="+mn-ea"/>
          <a:cs typeface="Arial" panose="020B0604020202020204" pitchFamily="34" charset="0"/>
        </a:defRPr>
      </a:lvl1pPr>
      <a:lvl2pPr marL="461963" indent="-230188" algn="l" defTabSz="914400" rtl="0" eaLnBrk="1" latinLnBrk="0" hangingPunct="1">
        <a:lnSpc>
          <a:spcPct val="100000"/>
        </a:lnSpc>
        <a:spcBef>
          <a:spcPts val="600"/>
        </a:spcBef>
        <a:spcAft>
          <a:spcPts val="0"/>
        </a:spcAft>
        <a:buFont typeface="Arial" panose="020B0604020202020204" pitchFamily="34" charset="0"/>
        <a:buChar char="•"/>
        <a:defRPr kumimoji="1" sz="1800" kern="1200" baseline="0">
          <a:solidFill>
            <a:srgbClr val="4D4D4F"/>
          </a:solidFill>
          <a:latin typeface="+mn-lt"/>
          <a:ea typeface="+mn-ea"/>
          <a:cs typeface="Arial" panose="020B0604020202020204" pitchFamily="34" charset="0"/>
        </a:defRPr>
      </a:lvl2pPr>
      <a:lvl3pPr marL="687388" indent="-230188" algn="l" defTabSz="914400" rtl="0" eaLnBrk="1" latinLnBrk="0" hangingPunct="1">
        <a:lnSpc>
          <a:spcPct val="100000"/>
        </a:lnSpc>
        <a:spcBef>
          <a:spcPts val="600"/>
        </a:spcBef>
        <a:spcAft>
          <a:spcPts val="0"/>
        </a:spcAft>
        <a:buFont typeface="Arial" panose="020B0604020202020204" pitchFamily="34" charset="0"/>
        <a:buChar char="•"/>
        <a:defRPr kumimoji="1" sz="1600" kern="1200">
          <a:solidFill>
            <a:schemeClr val="tx2"/>
          </a:solidFill>
          <a:latin typeface="+mn-lt"/>
          <a:ea typeface="+mn-ea"/>
          <a:cs typeface="Arial" panose="020B0604020202020204" pitchFamily="34" charset="0"/>
        </a:defRPr>
      </a:lvl3pPr>
      <a:lvl4pPr marL="914400" indent="-230188" algn="l" defTabSz="914400" rtl="0" eaLnBrk="1" latinLnBrk="0" hangingPunct="1">
        <a:lnSpc>
          <a:spcPct val="100000"/>
        </a:lnSpc>
        <a:spcBef>
          <a:spcPts val="600"/>
        </a:spcBef>
        <a:spcAft>
          <a:spcPts val="0"/>
        </a:spcAft>
        <a:buFont typeface="Arial" panose="020B0604020202020204" pitchFamily="34" charset="0"/>
        <a:buChar char="•"/>
        <a:tabLst/>
        <a:defRPr kumimoji="1" sz="1500" kern="1200">
          <a:solidFill>
            <a:schemeClr val="tx2"/>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spcAft>
          <a:spcPts val="0"/>
        </a:spcAft>
        <a:buFont typeface="Arial" panose="020B0604020202020204" pitchFamily="34" charset="0"/>
        <a:buNone/>
        <a:defRPr kumimoji="1" sz="1800" kern="1200">
          <a:solidFill>
            <a:schemeClr val="tx2"/>
          </a:solidFill>
          <a:latin typeface="Arial" panose="020B0604020202020204" pitchFamily="34" charset="0"/>
          <a:ea typeface="+mn-ea"/>
          <a:cs typeface="Arial" panose="020B0604020202020204" pitchFamily="34" charset="0"/>
        </a:defRPr>
      </a:lvl5pPr>
      <a:lvl6pPr marL="1828800" indent="0" algn="l" defTabSz="914400" rtl="0" eaLnBrk="1" latinLnBrk="0" hangingPunct="1">
        <a:lnSpc>
          <a:spcPct val="100000"/>
        </a:lnSpc>
        <a:spcBef>
          <a:spcPts val="500"/>
        </a:spcBef>
        <a:buFont typeface="Arial" panose="020B0604020202020204" pitchFamily="34" charset="0"/>
        <a:buNone/>
        <a:defRPr kumimoji="1" sz="1800" kern="1200">
          <a:solidFill>
            <a:schemeClr val="tx1"/>
          </a:solidFill>
          <a:latin typeface="Arial" panose="020B0604020202020204" pitchFamily="34" charset="0"/>
          <a:ea typeface="+mn-ea"/>
          <a:cs typeface="Arial" panose="020B0604020202020204" pitchFamily="34" charset="0"/>
        </a:defRPr>
      </a:lvl6pPr>
      <a:lvl7pPr marL="1344612" indent="0" algn="l"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5A346201-4A11-4906-B115-6CF9619AFB33}"/>
              </a:ext>
            </a:extLst>
          </p:cNvPr>
          <p:cNvSpPr>
            <a:spLocks noGrp="1"/>
          </p:cNvSpPr>
          <p:nvPr>
            <p:ph type="body" sz="quarter" idx="13"/>
          </p:nvPr>
        </p:nvSpPr>
        <p:spPr/>
        <p:txBody>
          <a:bodyPr/>
          <a:lstStyle/>
          <a:p>
            <a:pPr>
              <a:buFont typeface="Wingdings" panose="05000000000000000000" pitchFamily="2" charset="2"/>
              <a:buChar char="l"/>
            </a:pPr>
            <a:r>
              <a:rPr kumimoji="1" lang="ja-JP" altLang="en-US" sz="1800" dirty="0"/>
              <a:t>アンケートを実施し、開業医の受入可能な患者像を把握する</a:t>
            </a:r>
            <a:endParaRPr kumimoji="1" lang="en-US" altLang="ja-JP" sz="1800" dirty="0"/>
          </a:p>
          <a:p>
            <a:pPr lvl="1"/>
            <a:r>
              <a:rPr lang="ja-JP" altLang="en-US" dirty="0"/>
              <a:t>方法：連携室から、開業医に発送（手紙 </a:t>
            </a:r>
            <a:r>
              <a:rPr lang="en-US" altLang="ja-JP" dirty="0"/>
              <a:t>or FAX or Forms</a:t>
            </a:r>
            <a:r>
              <a:rPr lang="ja-JP" altLang="en-US" dirty="0"/>
              <a:t>）し回答いただく</a:t>
            </a:r>
            <a:endParaRPr lang="en-US" altLang="ja-JP" dirty="0"/>
          </a:p>
          <a:p>
            <a:pPr lvl="1"/>
            <a:r>
              <a:rPr kumimoji="1" lang="ja-JP" altLang="en-US" dirty="0"/>
              <a:t>対象：連携実績のある</a:t>
            </a:r>
            <a:r>
              <a:rPr lang="ja-JP" altLang="en-US" dirty="0"/>
              <a:t>かかりつけ医（</a:t>
            </a:r>
            <a:r>
              <a:rPr kumimoji="1" lang="ja-JP" altLang="en-US" dirty="0"/>
              <a:t>整形・内科）　など</a:t>
            </a:r>
            <a:endParaRPr lang="en-US" altLang="ja-JP" dirty="0"/>
          </a:p>
          <a:p>
            <a:pPr marL="457200" lvl="2" indent="0">
              <a:buNone/>
            </a:pPr>
            <a:r>
              <a:rPr lang="en-US" altLang="ja-JP" sz="1800" dirty="0"/>
              <a:t>【</a:t>
            </a:r>
            <a:r>
              <a:rPr lang="ja-JP" altLang="en-US" sz="1800" dirty="0"/>
              <a:t>設問例</a:t>
            </a:r>
            <a:r>
              <a:rPr lang="en-US" altLang="ja-JP" sz="1800" dirty="0"/>
              <a:t>】</a:t>
            </a:r>
          </a:p>
          <a:p>
            <a:pPr lvl="3"/>
            <a:r>
              <a:rPr kumimoji="1" lang="ja-JP" altLang="en-US" sz="1800" dirty="0"/>
              <a:t>骨折治療後の患者さんが紹介された場合、骨粗鬆症の治療継続は可能でしょうか</a:t>
            </a:r>
            <a:endParaRPr kumimoji="1" lang="en-US" altLang="ja-JP" sz="1800" dirty="0"/>
          </a:p>
          <a:p>
            <a:pPr lvl="3"/>
            <a:r>
              <a:rPr lang="ja-JP" altLang="en-US" sz="1800" dirty="0"/>
              <a:t>治療薬の選定は如何でしょうか</a:t>
            </a:r>
            <a:endParaRPr kumimoji="1" lang="en-US" altLang="ja-JP" sz="1800" dirty="0"/>
          </a:p>
          <a:p>
            <a:pPr lvl="3"/>
            <a:r>
              <a:rPr lang="ja-JP" altLang="en-US" sz="1800" dirty="0"/>
              <a:t>処方可能な骨粗鬆症治療薬を教えて下さい</a:t>
            </a:r>
            <a:endParaRPr kumimoji="1" lang="ja-JP" altLang="en-US" sz="1800" dirty="0"/>
          </a:p>
          <a:p>
            <a:pPr lvl="3"/>
            <a:endParaRPr kumimoji="1" lang="en-US" altLang="ja-JP" dirty="0"/>
          </a:p>
          <a:p>
            <a:pPr lvl="3"/>
            <a:endParaRPr kumimoji="1" lang="en-US" altLang="ja-JP" dirty="0"/>
          </a:p>
        </p:txBody>
      </p:sp>
      <p:sp>
        <p:nvSpPr>
          <p:cNvPr id="4" name="タイトル 3">
            <a:extLst>
              <a:ext uri="{FF2B5EF4-FFF2-40B4-BE49-F238E27FC236}">
                <a16:creationId xmlns:a16="http://schemas.microsoft.com/office/drawing/2014/main" id="{B8C545E4-5394-4CB3-8358-6B06A228FCA2}"/>
              </a:ext>
            </a:extLst>
          </p:cNvPr>
          <p:cNvSpPr>
            <a:spLocks noGrp="1"/>
          </p:cNvSpPr>
          <p:nvPr>
            <p:ph type="title"/>
          </p:nvPr>
        </p:nvSpPr>
        <p:spPr/>
        <p:txBody>
          <a:bodyPr/>
          <a:lstStyle/>
          <a:p>
            <a:r>
              <a:rPr kumimoji="1" lang="ja-JP" altLang="en-US" sz="2600" dirty="0"/>
              <a:t>かかりつけ医の受入れ意向と処方可能な薬剤を把握するためのアンケート</a:t>
            </a:r>
          </a:p>
        </p:txBody>
      </p:sp>
      <p:graphicFrame>
        <p:nvGraphicFramePr>
          <p:cNvPr id="6" name="表 5">
            <a:extLst>
              <a:ext uri="{FF2B5EF4-FFF2-40B4-BE49-F238E27FC236}">
                <a16:creationId xmlns:a16="http://schemas.microsoft.com/office/drawing/2014/main" id="{C6B508E1-7EAF-4407-AB48-9961F393584C}"/>
              </a:ext>
            </a:extLst>
          </p:cNvPr>
          <p:cNvGraphicFramePr>
            <a:graphicFrameLocks noGrp="1"/>
          </p:cNvGraphicFramePr>
          <p:nvPr>
            <p:extLst>
              <p:ext uri="{D42A27DB-BD31-4B8C-83A1-F6EECF244321}">
                <p14:modId xmlns:p14="http://schemas.microsoft.com/office/powerpoint/2010/main" val="543628432"/>
              </p:ext>
            </p:extLst>
          </p:nvPr>
        </p:nvGraphicFramePr>
        <p:xfrm>
          <a:off x="1258362" y="3957320"/>
          <a:ext cx="9675274" cy="1988300"/>
        </p:xfrm>
        <a:graphic>
          <a:graphicData uri="http://schemas.openxmlformats.org/drawingml/2006/table">
            <a:tbl>
              <a:tblPr firstRow="1" bandRow="1">
                <a:tableStyleId>{5940675A-B579-460E-94D1-54222C63F5DA}</a:tableStyleId>
              </a:tblPr>
              <a:tblGrid>
                <a:gridCol w="1382182">
                  <a:extLst>
                    <a:ext uri="{9D8B030D-6E8A-4147-A177-3AD203B41FA5}">
                      <a16:colId xmlns:a16="http://schemas.microsoft.com/office/drawing/2014/main" val="2779608313"/>
                    </a:ext>
                  </a:extLst>
                </a:gridCol>
                <a:gridCol w="1382182">
                  <a:extLst>
                    <a:ext uri="{9D8B030D-6E8A-4147-A177-3AD203B41FA5}">
                      <a16:colId xmlns:a16="http://schemas.microsoft.com/office/drawing/2014/main" val="1531926959"/>
                    </a:ext>
                  </a:extLst>
                </a:gridCol>
                <a:gridCol w="1382182">
                  <a:extLst>
                    <a:ext uri="{9D8B030D-6E8A-4147-A177-3AD203B41FA5}">
                      <a16:colId xmlns:a16="http://schemas.microsoft.com/office/drawing/2014/main" val="1504096041"/>
                    </a:ext>
                  </a:extLst>
                </a:gridCol>
                <a:gridCol w="1382182">
                  <a:extLst>
                    <a:ext uri="{9D8B030D-6E8A-4147-A177-3AD203B41FA5}">
                      <a16:colId xmlns:a16="http://schemas.microsoft.com/office/drawing/2014/main" val="2952790778"/>
                    </a:ext>
                  </a:extLst>
                </a:gridCol>
                <a:gridCol w="1382182">
                  <a:extLst>
                    <a:ext uri="{9D8B030D-6E8A-4147-A177-3AD203B41FA5}">
                      <a16:colId xmlns:a16="http://schemas.microsoft.com/office/drawing/2014/main" val="3332780513"/>
                    </a:ext>
                  </a:extLst>
                </a:gridCol>
                <a:gridCol w="1382182">
                  <a:extLst>
                    <a:ext uri="{9D8B030D-6E8A-4147-A177-3AD203B41FA5}">
                      <a16:colId xmlns:a16="http://schemas.microsoft.com/office/drawing/2014/main" val="2476556130"/>
                    </a:ext>
                  </a:extLst>
                </a:gridCol>
                <a:gridCol w="1382182">
                  <a:extLst>
                    <a:ext uri="{9D8B030D-6E8A-4147-A177-3AD203B41FA5}">
                      <a16:colId xmlns:a16="http://schemas.microsoft.com/office/drawing/2014/main" val="2534043434"/>
                    </a:ext>
                  </a:extLst>
                </a:gridCol>
              </a:tblGrid>
              <a:tr h="368300">
                <a:tc>
                  <a:txBody>
                    <a:bodyPr/>
                    <a:lstStyle/>
                    <a:p>
                      <a:pPr algn="ctr"/>
                      <a:r>
                        <a:rPr kumimoji="1" lang="ja-JP" altLang="en-US" sz="1400" dirty="0"/>
                        <a:t>施設名</a:t>
                      </a:r>
                    </a:p>
                  </a:txBody>
                  <a:tcPr anchor="ctr">
                    <a:solidFill>
                      <a:schemeClr val="bg1">
                        <a:lumMod val="85000"/>
                      </a:schemeClr>
                    </a:solidFill>
                  </a:tcPr>
                </a:tc>
                <a:tc>
                  <a:txBody>
                    <a:bodyPr/>
                    <a:lstStyle/>
                    <a:p>
                      <a:pPr algn="ctr"/>
                      <a:r>
                        <a:rPr kumimoji="1" lang="ja-JP" altLang="en-US" sz="1400" dirty="0"/>
                        <a:t>受入れ可否</a:t>
                      </a:r>
                    </a:p>
                  </a:txBody>
                  <a:tcPr anchor="ctr">
                    <a:solidFill>
                      <a:schemeClr val="bg1">
                        <a:lumMod val="85000"/>
                      </a:schemeClr>
                    </a:solidFill>
                  </a:tcPr>
                </a:tc>
                <a:tc>
                  <a:txBody>
                    <a:bodyPr/>
                    <a:lstStyle/>
                    <a:p>
                      <a:pPr algn="ctr"/>
                      <a:r>
                        <a:rPr kumimoji="1" lang="ja-JP" altLang="en-US" sz="1400" dirty="0"/>
                        <a:t>治療薬の選定</a:t>
                      </a:r>
                    </a:p>
                  </a:txBody>
                  <a:tcPr anchor="ctr">
                    <a:solidFill>
                      <a:schemeClr val="bg1">
                        <a:lumMod val="85000"/>
                      </a:schemeClr>
                    </a:solidFill>
                  </a:tcPr>
                </a:tc>
                <a:tc>
                  <a:txBody>
                    <a:bodyPr/>
                    <a:lstStyle/>
                    <a:p>
                      <a:pPr algn="ctr"/>
                      <a:r>
                        <a:rPr kumimoji="1" lang="ja-JP" altLang="en-US" sz="1400" dirty="0"/>
                        <a:t>経口薬</a:t>
                      </a:r>
                      <a:r>
                        <a:rPr kumimoji="1" lang="en-US" altLang="ja-JP" sz="1400" dirty="0"/>
                        <a:t>A</a:t>
                      </a:r>
                      <a:endParaRPr kumimoji="1" lang="ja-JP" altLang="en-US" sz="1400" dirty="0"/>
                    </a:p>
                  </a:txBody>
                  <a:tcPr anchor="ctr">
                    <a:solidFill>
                      <a:schemeClr val="bg1">
                        <a:lumMod val="85000"/>
                      </a:schemeClr>
                    </a:solidFill>
                  </a:tcPr>
                </a:tc>
                <a:tc>
                  <a:txBody>
                    <a:bodyPr/>
                    <a:lstStyle/>
                    <a:p>
                      <a:pPr algn="ctr"/>
                      <a:r>
                        <a:rPr kumimoji="1" lang="ja-JP" altLang="en-US" sz="1400" dirty="0"/>
                        <a:t>経口薬</a:t>
                      </a:r>
                      <a:r>
                        <a:rPr kumimoji="1" lang="en-US" altLang="ja-JP" sz="1400" dirty="0"/>
                        <a:t>B</a:t>
                      </a:r>
                      <a:endParaRPr kumimoji="1" lang="ja-JP" altLang="en-US" sz="1400" dirty="0"/>
                    </a:p>
                  </a:txBody>
                  <a:tcPr anchor="ctr">
                    <a:solidFill>
                      <a:schemeClr val="bg1">
                        <a:lumMod val="85000"/>
                      </a:schemeClr>
                    </a:solidFill>
                  </a:tcPr>
                </a:tc>
                <a:tc>
                  <a:txBody>
                    <a:bodyPr/>
                    <a:lstStyle/>
                    <a:p>
                      <a:pPr algn="ctr"/>
                      <a:r>
                        <a:rPr kumimoji="1" lang="ja-JP" altLang="en-US" sz="1400" dirty="0"/>
                        <a:t>注射剤</a:t>
                      </a:r>
                      <a:r>
                        <a:rPr kumimoji="1" lang="en-US" altLang="ja-JP" sz="1400" dirty="0"/>
                        <a:t>A</a:t>
                      </a:r>
                      <a:endParaRPr kumimoji="1" lang="ja-JP" altLang="en-US" sz="1400" dirty="0"/>
                    </a:p>
                  </a:txBody>
                  <a:tcPr anchor="ctr">
                    <a:solidFill>
                      <a:schemeClr val="bg1">
                        <a:lumMod val="85000"/>
                      </a:schemeClr>
                    </a:solidFill>
                  </a:tcPr>
                </a:tc>
                <a:tc>
                  <a:txBody>
                    <a:bodyPr/>
                    <a:lstStyle/>
                    <a:p>
                      <a:pPr algn="ctr"/>
                      <a:r>
                        <a:rPr kumimoji="1" lang="ja-JP" altLang="en-US" sz="1400" dirty="0"/>
                        <a:t>注射剤</a:t>
                      </a:r>
                      <a:r>
                        <a:rPr kumimoji="1" lang="en-US" altLang="ja-JP" sz="1400" dirty="0"/>
                        <a:t>B</a:t>
                      </a:r>
                      <a:endParaRPr kumimoji="1" lang="ja-JP" altLang="en-US" sz="1400" dirty="0"/>
                    </a:p>
                  </a:txBody>
                  <a:tcPr anchor="ctr">
                    <a:solidFill>
                      <a:schemeClr val="bg1">
                        <a:lumMod val="85000"/>
                      </a:schemeClr>
                    </a:solidFill>
                  </a:tcPr>
                </a:tc>
                <a:extLst>
                  <a:ext uri="{0D108BD9-81ED-4DB2-BD59-A6C34878D82A}">
                    <a16:rowId xmlns:a16="http://schemas.microsoft.com/office/drawing/2014/main" val="485652312"/>
                  </a:ext>
                </a:extLst>
              </a:tr>
              <a:tr h="540000">
                <a:tc>
                  <a:txBody>
                    <a:bodyPr/>
                    <a:lstStyle/>
                    <a:p>
                      <a:pPr algn="ctr"/>
                      <a:r>
                        <a:rPr kumimoji="1" lang="en-US" altLang="ja-JP" sz="1400" dirty="0"/>
                        <a:t>××</a:t>
                      </a:r>
                      <a:r>
                        <a:rPr kumimoji="1" lang="ja-JP" altLang="en-US" sz="1400" dirty="0"/>
                        <a:t>整形外科</a:t>
                      </a:r>
                    </a:p>
                  </a:txBody>
                  <a:tcPr anchor="ctr"/>
                </a:tc>
                <a:tc>
                  <a:txBody>
                    <a:bodyPr/>
                    <a:lstStyle/>
                    <a:p>
                      <a:pPr algn="ctr"/>
                      <a:r>
                        <a:rPr kumimoji="1" lang="ja-JP" altLang="en-US" sz="1400" dirty="0"/>
                        <a:t>可</a:t>
                      </a:r>
                    </a:p>
                  </a:txBody>
                  <a:tcPr anchor="ctr"/>
                </a:tc>
                <a:tc>
                  <a:txBody>
                    <a:bodyPr/>
                    <a:lstStyle/>
                    <a:p>
                      <a:pPr algn="ctr"/>
                      <a:r>
                        <a:rPr kumimoji="1" lang="ja-JP" altLang="en-US" sz="1400" dirty="0"/>
                        <a:t>自院で判断</a:t>
                      </a:r>
                    </a:p>
                  </a:txBody>
                  <a:tcPr anchor="ctr"/>
                </a:tc>
                <a:tc>
                  <a:txBody>
                    <a:bodyPr/>
                    <a:lstStyle/>
                    <a:p>
                      <a:pPr algn="ctr"/>
                      <a:r>
                        <a:rPr kumimoji="1" lang="ja-JP" altLang="en-US" sz="1400" dirty="0"/>
                        <a: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t>○</a:t>
                      </a:r>
                    </a:p>
                  </a:txBody>
                  <a:tcPr anchor="ctr"/>
                </a:tc>
                <a:extLst>
                  <a:ext uri="{0D108BD9-81ED-4DB2-BD59-A6C34878D82A}">
                    <a16:rowId xmlns:a16="http://schemas.microsoft.com/office/drawing/2014/main" val="2284226178"/>
                  </a:ext>
                </a:extLst>
              </a:tr>
              <a:tr h="540000">
                <a:tc>
                  <a:txBody>
                    <a:bodyPr/>
                    <a:lstStyle/>
                    <a:p>
                      <a:pPr algn="ctr"/>
                      <a:r>
                        <a:rPr kumimoji="1" lang="ja-JP" altLang="en-US" sz="1400" dirty="0"/>
                        <a:t>○○内科</a:t>
                      </a:r>
                    </a:p>
                  </a:txBody>
                  <a:tcPr anchor="ctr"/>
                </a:tc>
                <a:tc>
                  <a:txBody>
                    <a:bodyPr/>
                    <a:lstStyle/>
                    <a:p>
                      <a:pPr algn="ctr"/>
                      <a:r>
                        <a:rPr kumimoji="1" lang="ja-JP" altLang="en-US" sz="1400" dirty="0"/>
                        <a:t>不可</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t>病院の処方を継続</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dirty="0"/>
                        <a:t>×</a:t>
                      </a:r>
                      <a:endParaRPr kumimoji="1" lang="ja-JP" altLang="en-US" sz="14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dirty="0"/>
                        <a:t>×</a:t>
                      </a:r>
                      <a:endParaRPr kumimoji="1" lang="ja-JP" altLang="en-US" sz="1400" dirty="0"/>
                    </a:p>
                  </a:txBody>
                  <a:tcPr anchor="ctr"/>
                </a:tc>
                <a:extLst>
                  <a:ext uri="{0D108BD9-81ED-4DB2-BD59-A6C34878D82A}">
                    <a16:rowId xmlns:a16="http://schemas.microsoft.com/office/drawing/2014/main" val="1031315629"/>
                  </a:ext>
                </a:extLst>
              </a:tr>
              <a:tr h="540000">
                <a:tc>
                  <a:txBody>
                    <a:bodyPr/>
                    <a:lstStyle/>
                    <a:p>
                      <a:pPr algn="ctr"/>
                      <a:r>
                        <a:rPr kumimoji="1" lang="ja-JP" altLang="en-US" sz="1400" dirty="0"/>
                        <a:t>・・・</a:t>
                      </a:r>
                    </a:p>
                  </a:txBody>
                  <a:tcPr anchor="ctr"/>
                </a:tc>
                <a:tc>
                  <a:txBody>
                    <a:bodyPr/>
                    <a:lstStyle/>
                    <a:p>
                      <a:pPr algn="ctr"/>
                      <a:r>
                        <a:rPr kumimoji="1" lang="ja-JP" altLang="en-US" sz="1400" dirty="0"/>
                        <a: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t>・・・</a:t>
                      </a:r>
                    </a:p>
                  </a:txBody>
                  <a:tcPr anchor="ctr"/>
                </a:tc>
                <a:tc>
                  <a:txBody>
                    <a:bodyPr/>
                    <a:lstStyle/>
                    <a:p>
                      <a:pPr algn="ctr"/>
                      <a:r>
                        <a:rPr kumimoji="1" lang="ja-JP" altLang="en-US" sz="1400" dirty="0"/>
                        <a: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t>・・・</a:t>
                      </a:r>
                    </a:p>
                  </a:txBody>
                  <a:tcPr anchor="ctr"/>
                </a:tc>
                <a:extLst>
                  <a:ext uri="{0D108BD9-81ED-4DB2-BD59-A6C34878D82A}">
                    <a16:rowId xmlns:a16="http://schemas.microsoft.com/office/drawing/2014/main" val="435185737"/>
                  </a:ext>
                </a:extLst>
              </a:tr>
            </a:tbl>
          </a:graphicData>
        </a:graphic>
      </p:graphicFrame>
    </p:spTree>
    <p:extLst>
      <p:ext uri="{BB962C8B-B14F-4D97-AF65-F5344CB8AC3E}">
        <p14:creationId xmlns:p14="http://schemas.microsoft.com/office/powerpoint/2010/main" val="3838713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stellas">
  <a:themeElements>
    <a:clrScheme name="Astellas">
      <a:dk1>
        <a:srgbClr val="4D4D4F"/>
      </a:dk1>
      <a:lt1>
        <a:sysClr val="window" lastClr="FFFFFF"/>
      </a:lt1>
      <a:dk2>
        <a:srgbClr val="4D4D4F"/>
      </a:dk2>
      <a:lt2>
        <a:srgbClr val="D91E49"/>
      </a:lt2>
      <a:accent1>
        <a:srgbClr val="D91E49"/>
      </a:accent1>
      <a:accent2>
        <a:srgbClr val="A62B4E"/>
      </a:accent2>
      <a:accent3>
        <a:srgbClr val="939597"/>
      </a:accent3>
      <a:accent4>
        <a:srgbClr val="A7A9AC"/>
      </a:accent4>
      <a:accent5>
        <a:srgbClr val="A20067"/>
      </a:accent5>
      <a:accent6>
        <a:srgbClr val="4D4D4F"/>
      </a:accent6>
      <a:hlink>
        <a:srgbClr val="4D4D4F"/>
      </a:hlink>
      <a:folHlink>
        <a:srgbClr val="4D4D4F"/>
      </a:folHlink>
    </a:clrScheme>
    <a:fontScheme name="230525">
      <a:majorFont>
        <a:latin typeface="Arial"/>
        <a:ea typeface="BIZ UDPゴシック"/>
        <a:cs typeface=""/>
      </a:majorFont>
      <a:minorFont>
        <a:latin typeface="Arial"/>
        <a:ea typeface="BIZ UDP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プレゼンテーション1" id="{3092C979-AD6F-4D9C-ABFF-31841C78D056}" vid="{67DF5C61-FD6E-4E4D-9069-5D12781F61C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A66AD949C494AC4A9A8DD3BECCD1F9B5" ma:contentTypeVersion="18" ma:contentTypeDescription="新しいドキュメントを作成します。" ma:contentTypeScope="" ma:versionID="ac4f4158ff3106a12c335acb95f273e7">
  <xsd:schema xmlns:xsd="http://www.w3.org/2001/XMLSchema" xmlns:xs="http://www.w3.org/2001/XMLSchema" xmlns:p="http://schemas.microsoft.com/office/2006/metadata/properties" xmlns:ns2="4a428613-968d-4ba3-9d26-134845ce3a4b" xmlns:ns3="e892eacf-b0ed-43c9-991e-5d8b25b74732" targetNamespace="http://schemas.microsoft.com/office/2006/metadata/properties" ma:root="true" ma:fieldsID="b48b68fcba0859b17579824536a92d3c" ns2:_="" ns3:_="">
    <xsd:import namespace="4a428613-968d-4ba3-9d26-134845ce3a4b"/>
    <xsd:import namespace="e892eacf-b0ed-43c9-991e-5d8b25b74732"/>
    <xsd:element name="properties">
      <xsd:complexType>
        <xsd:sequence>
          <xsd:element name="documentManagement">
            <xsd:complexType>
              <xsd:all>
                <xsd:element ref="ns2:_x7ba1__x7406__x8005_" minOccurs="0"/>
                <xsd:element ref="ns2:_x4e26__x3073__x9806_" minOccurs="0"/>
                <xsd:element ref="ns3:SharedWithUsers" minOccurs="0"/>
                <xsd:element ref="ns3:SharedWithDetails" minOccurs="0"/>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2:MediaServiceSearchProperties" minOccurs="0"/>
                <xsd:element ref="ns2:_x79fb__x884c__x5148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428613-968d-4ba3-9d26-134845ce3a4b" elementFormDefault="qualified">
    <xsd:import namespace="http://schemas.microsoft.com/office/2006/documentManagement/types"/>
    <xsd:import namespace="http://schemas.microsoft.com/office/infopath/2007/PartnerControls"/>
    <xsd:element name="_x7ba1__x7406__x8005_" ma:index="8" nillable="true" ma:displayName="管理者" ma:format="Dropdown" ma:internalName="_x7ba1__x7406__x8005_">
      <xsd:simpleType>
        <xsd:restriction base="dms:Text">
          <xsd:maxLength value="255"/>
        </xsd:restriction>
      </xsd:simpleType>
    </xsd:element>
    <xsd:element name="_x4e26__x3073__x9806_" ma:index="9" nillable="true" ma:displayName="並び順" ma:format="Dropdown" ma:indexed="true" ma:internalName="_x4e26__x3073__x9806_">
      <xsd:simpleType>
        <xsd:restriction base="dms:Text">
          <xsd:maxLength value="255"/>
        </xsd:restriction>
      </xsd:simple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c86e3a17-c120-4035-848b-e22179fa993c"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Location" ma:index="23" nillable="true" ma:displayName="Location" ma:indexed="true" ma:internalName="MediaServiceLocation"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_x79fb__x884c__x5148_" ma:index="25" nillable="true" ma:displayName="移行先" ma:format="Dropdown" ma:internalName="_x79fb__x884c__x5148_">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892eacf-b0ed-43c9-991e-5d8b25b74732"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TaxCatchAll" ma:index="17" nillable="true" ma:displayName="Taxonomy Catch All Column" ma:hidden="true" ma:list="{a7e5bc7b-59aa-4d58-b6af-7ad14777cc37}" ma:internalName="TaxCatchAll" ma:showField="CatchAllData" ma:web="e892eacf-b0ed-43c9-991e-5d8b25b7473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e892eacf-b0ed-43c9-991e-5d8b25b74732" xsi:nil="true"/>
    <lcf76f155ced4ddcb4097134ff3c332f xmlns="4a428613-968d-4ba3-9d26-134845ce3a4b">
      <Terms xmlns="http://schemas.microsoft.com/office/infopath/2007/PartnerControls"/>
    </lcf76f155ced4ddcb4097134ff3c332f>
    <SharedWithUsers xmlns="e892eacf-b0ed-43c9-991e-5d8b25b74732">
      <UserInfo>
        <DisplayName/>
        <AccountId xsi:nil="true"/>
        <AccountType/>
      </UserInfo>
    </SharedWithUsers>
    <MediaLengthInSeconds xmlns="4a428613-968d-4ba3-9d26-134845ce3a4b" xsi:nil="true"/>
    <_x7ba1__x7406__x8005_ xmlns="4a428613-968d-4ba3-9d26-134845ce3a4b" xsi:nil="true"/>
    <_x4e26__x3073__x9806_ xmlns="4a428613-968d-4ba3-9d26-134845ce3a4b" xsi:nil="true"/>
    <_x79fb__x884c__x5148_ xmlns="4a428613-968d-4ba3-9d26-134845ce3a4b" xsi:nil="true"/>
  </documentManagement>
</p:properties>
</file>

<file path=customXml/itemProps1.xml><?xml version="1.0" encoding="utf-8"?>
<ds:datastoreItem xmlns:ds="http://schemas.openxmlformats.org/officeDocument/2006/customXml" ds:itemID="{536698C8-D533-4E0E-8150-E4E88CE62E30}">
  <ds:schemaRefs>
    <ds:schemaRef ds:uri="http://schemas.microsoft.com/sharepoint/v3/contenttype/forms"/>
  </ds:schemaRefs>
</ds:datastoreItem>
</file>

<file path=customXml/itemProps2.xml><?xml version="1.0" encoding="utf-8"?>
<ds:datastoreItem xmlns:ds="http://schemas.openxmlformats.org/officeDocument/2006/customXml" ds:itemID="{EDA727CA-C85E-466F-B396-C17847641F4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a428613-968d-4ba3-9d26-134845ce3a4b"/>
    <ds:schemaRef ds:uri="e892eacf-b0ed-43c9-991e-5d8b25b7473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BF764C8-DC6F-410E-93F6-678DAB3DA4C3}">
  <ds:schemaRefs>
    <ds:schemaRef ds:uri="http://purl.org/dc/terms/"/>
    <ds:schemaRef ds:uri="4a428613-968d-4ba3-9d26-134845ce3a4b"/>
    <ds:schemaRef ds:uri="http://schemas.microsoft.com/office/2006/documentManagement/types"/>
    <ds:schemaRef ds:uri="http://schemas.openxmlformats.org/package/2006/metadata/core-properties"/>
    <ds:schemaRef ds:uri="e892eacf-b0ed-43c9-991e-5d8b25b74732"/>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2270</TotalTime>
  <Words>162</Words>
  <Application>Microsoft Office PowerPoint</Application>
  <PresentationFormat>ワイド画面</PresentationFormat>
  <Paragraphs>36</Paragraphs>
  <Slides>1</Slides>
  <Notes>0</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1</vt:i4>
      </vt:variant>
    </vt:vector>
  </HeadingPairs>
  <TitlesOfParts>
    <vt:vector size="7" baseType="lpstr">
      <vt:lpstr>游ゴシック</vt:lpstr>
      <vt:lpstr>Arial</vt:lpstr>
      <vt:lpstr>Calibri</vt:lpstr>
      <vt:lpstr>Wingdings</vt:lpstr>
      <vt:lpstr>Astellas</vt:lpstr>
      <vt:lpstr>think-cell Slide</vt:lpstr>
      <vt:lpstr>かかりつけ医の受入れ意向と処方可能な薬剤を把握するためのアンケー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二次性骨折予防に向けた地域連携</dc:title>
  <dc:creator>Ohkuri, Takeharu(大栗 威晴)</dc:creator>
  <cp:lastModifiedBy>Ohkuri, Takeharu(大栗 威晴)[He/Him]</cp:lastModifiedBy>
  <cp:revision>135</cp:revision>
  <dcterms:created xsi:type="dcterms:W3CDTF">2023-07-27T00:39:12Z</dcterms:created>
  <dcterms:modified xsi:type="dcterms:W3CDTF">2024-04-08T23:5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6AD949C494AC4A9A8DD3BECCD1F9B5</vt:lpwstr>
  </property>
  <property fmtid="{D5CDD505-2E9C-101B-9397-08002B2CF9AE}" pid="3" name="MediaServiceImageTags">
    <vt:lpwstr/>
  </property>
  <property fmtid="{D5CDD505-2E9C-101B-9397-08002B2CF9AE}" pid="4" name="Order">
    <vt:r8>361600</vt:r8>
  </property>
  <property fmtid="{D5CDD505-2E9C-101B-9397-08002B2CF9AE}" pid="5" name="ComplianceAssetId">
    <vt:lpwstr/>
  </property>
  <property fmtid="{D5CDD505-2E9C-101B-9397-08002B2CF9AE}" pid="6" name="_ExtendedDescription">
    <vt:lpwstr/>
  </property>
  <property fmtid="{D5CDD505-2E9C-101B-9397-08002B2CF9AE}" pid="7" name="TriggerFlowInfo">
    <vt:lpwstr/>
  </property>
</Properties>
</file>